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sldIdLst>
    <p:sldId id="315" r:id="rId2"/>
    <p:sldId id="262" r:id="rId3"/>
    <p:sldId id="258" r:id="rId4"/>
    <p:sldId id="257" r:id="rId5"/>
    <p:sldId id="263" r:id="rId6"/>
    <p:sldId id="264" r:id="rId7"/>
    <p:sldId id="310" r:id="rId8"/>
    <p:sldId id="313" r:id="rId9"/>
    <p:sldId id="312" r:id="rId10"/>
    <p:sldId id="261" r:id="rId11"/>
    <p:sldId id="260" r:id="rId12"/>
    <p:sldId id="311" r:id="rId13"/>
    <p:sldId id="320" r:id="rId14"/>
    <p:sldId id="317" r:id="rId15"/>
    <p:sldId id="318" r:id="rId16"/>
    <p:sldId id="319" r:id="rId17"/>
    <p:sldId id="314" r:id="rId18"/>
    <p:sldId id="316" r:id="rId19"/>
    <p:sldId id="265"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DE4"/>
    <a:srgbClr val="2AAEE2"/>
    <a:srgbClr val="42BA97"/>
    <a:srgbClr val="30653F"/>
    <a:srgbClr val="64A39F"/>
    <a:srgbClr val="48B997"/>
    <a:srgbClr val="2263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47"/>
    <p:restoredTop sz="94667"/>
  </p:normalViewPr>
  <p:slideViewPr>
    <p:cSldViewPr snapToGrid="0" snapToObjects="1" showGuides="1">
      <p:cViewPr varScale="1">
        <p:scale>
          <a:sx n="70" d="100"/>
          <a:sy n="70" d="100"/>
        </p:scale>
        <p:origin x="660" y="72"/>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frin Azath" userId="f80e603bb8e34c42" providerId="LiveId" clId="{B45D2B8D-6A88-4845-83C3-988F5E649569}"/>
    <pc:docChg chg="undo custSel addSld delSld modSld sldOrd delMainMaster">
      <pc:chgData name="Afrin Azath" userId="f80e603bb8e34c42" providerId="LiveId" clId="{B45D2B8D-6A88-4845-83C3-988F5E649569}" dt="2023-06-10T21:13:00.670" v="4048"/>
      <pc:docMkLst>
        <pc:docMk/>
      </pc:docMkLst>
      <pc:sldChg chg="modSp del mod">
        <pc:chgData name="Afrin Azath" userId="f80e603bb8e34c42" providerId="LiveId" clId="{B45D2B8D-6A88-4845-83C3-988F5E649569}" dt="2023-06-10T11:36:07.703" v="2519" actId="47"/>
        <pc:sldMkLst>
          <pc:docMk/>
          <pc:sldMk cId="1576111898" sldId="256"/>
        </pc:sldMkLst>
        <pc:spChg chg="mod">
          <ac:chgData name="Afrin Azath" userId="f80e603bb8e34c42" providerId="LiveId" clId="{B45D2B8D-6A88-4845-83C3-988F5E649569}" dt="2023-06-10T09:56:19.610" v="2468" actId="1076"/>
          <ac:spMkLst>
            <pc:docMk/>
            <pc:sldMk cId="1576111898" sldId="256"/>
            <ac:spMk id="3" creationId="{9E557775-56EC-4A57-B7CC-0830D1430CC5}"/>
          </ac:spMkLst>
        </pc:spChg>
        <pc:spChg chg="mod">
          <ac:chgData name="Afrin Azath" userId="f80e603bb8e34c42" providerId="LiveId" clId="{B45D2B8D-6A88-4845-83C3-988F5E649569}" dt="2023-06-09T13:30:29.509" v="2263" actId="1076"/>
          <ac:spMkLst>
            <pc:docMk/>
            <pc:sldMk cId="1576111898" sldId="256"/>
            <ac:spMk id="6" creationId="{FBF05139-FD46-474D-8220-C6D8726F6A44}"/>
          </ac:spMkLst>
        </pc:spChg>
        <pc:spChg chg="mod ord">
          <ac:chgData name="Afrin Azath" userId="f80e603bb8e34c42" providerId="LiveId" clId="{B45D2B8D-6A88-4845-83C3-988F5E649569}" dt="2023-06-10T09:55:54.288" v="2433" actId="1076"/>
          <ac:spMkLst>
            <pc:docMk/>
            <pc:sldMk cId="1576111898" sldId="256"/>
            <ac:spMk id="12" creationId="{58E08E07-64C6-C04C-9D69-69523B1D1E02}"/>
          </ac:spMkLst>
        </pc:spChg>
        <pc:grpChg chg="mod">
          <ac:chgData name="Afrin Azath" userId="f80e603bb8e34c42" providerId="LiveId" clId="{B45D2B8D-6A88-4845-83C3-988F5E649569}" dt="2023-06-10T09:55:36.739" v="2431" actId="1076"/>
          <ac:grpSpMkLst>
            <pc:docMk/>
            <pc:sldMk cId="1576111898" sldId="256"/>
            <ac:grpSpMk id="5" creationId="{D1B4D51D-4FDC-4CA1-85FC-1AD3AD0A45DF}"/>
          </ac:grpSpMkLst>
        </pc:grpChg>
        <pc:picChg chg="mod">
          <ac:chgData name="Afrin Azath" userId="f80e603bb8e34c42" providerId="LiveId" clId="{B45D2B8D-6A88-4845-83C3-988F5E649569}" dt="2023-06-09T09:14:13.954" v="1375" actId="1076"/>
          <ac:picMkLst>
            <pc:docMk/>
            <pc:sldMk cId="1576111898" sldId="256"/>
            <ac:picMk id="10" creationId="{7A8BD3D0-400E-0F4D-94BC-1FEA2833DCFB}"/>
          </ac:picMkLst>
        </pc:picChg>
      </pc:sldChg>
      <pc:sldChg chg="addSp delSp modSp mod">
        <pc:chgData name="Afrin Azath" userId="f80e603bb8e34c42" providerId="LiveId" clId="{B45D2B8D-6A88-4845-83C3-988F5E649569}" dt="2023-06-10T20:41:05.997" v="4035" actId="20577"/>
        <pc:sldMkLst>
          <pc:docMk/>
          <pc:sldMk cId="3736591673" sldId="257"/>
        </pc:sldMkLst>
        <pc:spChg chg="add mod ord">
          <ac:chgData name="Afrin Azath" userId="f80e603bb8e34c42" providerId="LiveId" clId="{B45D2B8D-6A88-4845-83C3-988F5E649569}" dt="2023-06-07T14:30:25.186" v="496" actId="1076"/>
          <ac:spMkLst>
            <pc:docMk/>
            <pc:sldMk cId="3736591673" sldId="257"/>
            <ac:spMk id="6" creationId="{26E9F34D-CA56-E968-2F1B-6116C87D3707}"/>
          </ac:spMkLst>
        </pc:spChg>
        <pc:spChg chg="add mod">
          <ac:chgData name="Afrin Azath" userId="f80e603bb8e34c42" providerId="LiveId" clId="{B45D2B8D-6A88-4845-83C3-988F5E649569}" dt="2023-06-10T20:41:05.997" v="4035" actId="20577"/>
          <ac:spMkLst>
            <pc:docMk/>
            <pc:sldMk cId="3736591673" sldId="257"/>
            <ac:spMk id="8" creationId="{F9F9281F-C302-251D-B7B2-6B05961B3AFB}"/>
          </ac:spMkLst>
        </pc:spChg>
        <pc:spChg chg="del mod">
          <ac:chgData name="Afrin Azath" userId="f80e603bb8e34c42" providerId="LiveId" clId="{B45D2B8D-6A88-4845-83C3-988F5E649569}" dt="2023-06-07T14:30:13.294" v="491" actId="478"/>
          <ac:spMkLst>
            <pc:docMk/>
            <pc:sldMk cId="3736591673" sldId="257"/>
            <ac:spMk id="20" creationId="{35600855-F93E-6948-92EE-AC150BFB6F1D}"/>
          </ac:spMkLst>
        </pc:spChg>
        <pc:spChg chg="del mod">
          <ac:chgData name="Afrin Azath" userId="f80e603bb8e34c42" providerId="LiveId" clId="{B45D2B8D-6A88-4845-83C3-988F5E649569}" dt="2023-06-09T13:50:57.962" v="2349" actId="478"/>
          <ac:spMkLst>
            <pc:docMk/>
            <pc:sldMk cId="3736591673" sldId="257"/>
            <ac:spMk id="22" creationId="{64AB5AE0-A9F1-2F4D-993F-A2CEFCB1CB52}"/>
          </ac:spMkLst>
        </pc:spChg>
        <pc:spChg chg="mod">
          <ac:chgData name="Afrin Azath" userId="f80e603bb8e34c42" providerId="LiveId" clId="{B45D2B8D-6A88-4845-83C3-988F5E649569}" dt="2023-06-07T14:31:01.222" v="503" actId="1076"/>
          <ac:spMkLst>
            <pc:docMk/>
            <pc:sldMk cId="3736591673" sldId="257"/>
            <ac:spMk id="29" creationId="{FC7A0DE6-9948-704F-9A5D-AB3495DBF809}"/>
          </ac:spMkLst>
        </pc:spChg>
        <pc:spChg chg="del mod">
          <ac:chgData name="Afrin Azath" userId="f80e603bb8e34c42" providerId="LiveId" clId="{B45D2B8D-6A88-4845-83C3-988F5E649569}" dt="2023-06-07T13:56:45.998" v="373" actId="478"/>
          <ac:spMkLst>
            <pc:docMk/>
            <pc:sldMk cId="3736591673" sldId="257"/>
            <ac:spMk id="30" creationId="{381842C9-F504-C742-A794-86869E904E56}"/>
          </ac:spMkLst>
        </pc:spChg>
        <pc:spChg chg="mod">
          <ac:chgData name="Afrin Azath" userId="f80e603bb8e34c42" providerId="LiveId" clId="{B45D2B8D-6A88-4845-83C3-988F5E649569}" dt="2023-06-09T13:51:16.118" v="2352" actId="1076"/>
          <ac:spMkLst>
            <pc:docMk/>
            <pc:sldMk cId="3736591673" sldId="257"/>
            <ac:spMk id="31" creationId="{20BB0A73-3596-7648-8024-2188A1C88EAD}"/>
          </ac:spMkLst>
        </pc:spChg>
        <pc:spChg chg="mod">
          <ac:chgData name="Afrin Azath" userId="f80e603bb8e34c42" providerId="LiveId" clId="{B45D2B8D-6A88-4845-83C3-988F5E649569}" dt="2023-06-09T13:51:16.118" v="2352" actId="1076"/>
          <ac:spMkLst>
            <pc:docMk/>
            <pc:sldMk cId="3736591673" sldId="257"/>
            <ac:spMk id="32" creationId="{3CDEB2A5-F525-5940-93D2-87E95037F248}"/>
          </ac:spMkLst>
        </pc:spChg>
        <pc:spChg chg="mod">
          <ac:chgData name="Afrin Azath" userId="f80e603bb8e34c42" providerId="LiveId" clId="{B45D2B8D-6A88-4845-83C3-988F5E649569}" dt="2023-06-07T14:31:01.222" v="503" actId="1076"/>
          <ac:spMkLst>
            <pc:docMk/>
            <pc:sldMk cId="3736591673" sldId="257"/>
            <ac:spMk id="37" creationId="{4DC54F51-491D-9D46-9919-8FD5C0A18C0C}"/>
          </ac:spMkLst>
        </pc:spChg>
        <pc:spChg chg="mod">
          <ac:chgData name="Afrin Azath" userId="f80e603bb8e34c42" providerId="LiveId" clId="{B45D2B8D-6A88-4845-83C3-988F5E649569}" dt="2023-06-07T14:31:01.222" v="503" actId="1076"/>
          <ac:spMkLst>
            <pc:docMk/>
            <pc:sldMk cId="3736591673" sldId="257"/>
            <ac:spMk id="38" creationId="{21AC718F-10BE-B146-8380-DDE22B8F84A3}"/>
          </ac:spMkLst>
        </pc:spChg>
        <pc:spChg chg="mod">
          <ac:chgData name="Afrin Azath" userId="f80e603bb8e34c42" providerId="LiveId" clId="{B45D2B8D-6A88-4845-83C3-988F5E649569}" dt="2023-06-07T14:31:01.222" v="503" actId="1076"/>
          <ac:spMkLst>
            <pc:docMk/>
            <pc:sldMk cId="3736591673" sldId="257"/>
            <ac:spMk id="39" creationId="{2B5D3221-F40F-4F4D-ACD2-D956FFABE22F}"/>
          </ac:spMkLst>
        </pc:spChg>
        <pc:grpChg chg="add mod">
          <ac:chgData name="Afrin Azath" userId="f80e603bb8e34c42" providerId="LiveId" clId="{B45D2B8D-6A88-4845-83C3-988F5E649569}" dt="2023-06-07T14:30:34.796" v="498" actId="14100"/>
          <ac:grpSpMkLst>
            <pc:docMk/>
            <pc:sldMk cId="3736591673" sldId="257"/>
            <ac:grpSpMk id="2" creationId="{55B313A4-E686-C120-062C-DEC515371346}"/>
          </ac:grpSpMkLst>
        </pc:grpChg>
        <pc:grpChg chg="mod">
          <ac:chgData name="Afrin Azath" userId="f80e603bb8e34c42" providerId="LiveId" clId="{B45D2B8D-6A88-4845-83C3-988F5E649569}" dt="2023-06-07T14:31:01.222" v="503" actId="1076"/>
          <ac:grpSpMkLst>
            <pc:docMk/>
            <pc:sldMk cId="3736591673" sldId="257"/>
            <ac:grpSpMk id="36" creationId="{4835883E-4D16-1F4B-86F3-5FAF6E591911}"/>
          </ac:grpSpMkLst>
        </pc:grpChg>
        <pc:grpChg chg="del mod">
          <ac:chgData name="Afrin Azath" userId="f80e603bb8e34c42" providerId="LiveId" clId="{B45D2B8D-6A88-4845-83C3-988F5E649569}" dt="2023-06-09T13:50:55.406" v="2348" actId="478"/>
          <ac:grpSpMkLst>
            <pc:docMk/>
            <pc:sldMk cId="3736591673" sldId="257"/>
            <ac:grpSpMk id="40" creationId="{E15D4E38-7B94-F649-AB9D-3716ED8F2443}"/>
          </ac:grpSpMkLst>
        </pc:grpChg>
        <pc:grpChg chg="mod">
          <ac:chgData name="Afrin Azath" userId="f80e603bb8e34c42" providerId="LiveId" clId="{B45D2B8D-6A88-4845-83C3-988F5E649569}" dt="2023-06-09T13:51:16.118" v="2352" actId="1076"/>
          <ac:grpSpMkLst>
            <pc:docMk/>
            <pc:sldMk cId="3736591673" sldId="257"/>
            <ac:grpSpMk id="42" creationId="{834D9222-07D7-FE42-9533-EA3727FB14C4}"/>
          </ac:grpSpMkLst>
        </pc:grpChg>
        <pc:picChg chg="mod">
          <ac:chgData name="Afrin Azath" userId="f80e603bb8e34c42" providerId="LiveId" clId="{B45D2B8D-6A88-4845-83C3-988F5E649569}" dt="2023-06-07T14:28:37.610" v="467"/>
          <ac:picMkLst>
            <pc:docMk/>
            <pc:sldMk cId="3736591673" sldId="257"/>
            <ac:picMk id="3" creationId="{76431713-ECBF-4853-A20D-F8B0252DB681}"/>
          </ac:picMkLst>
        </pc:picChg>
        <pc:picChg chg="mod">
          <ac:chgData name="Afrin Azath" userId="f80e603bb8e34c42" providerId="LiveId" clId="{B45D2B8D-6A88-4845-83C3-988F5E649569}" dt="2023-06-07T14:28:37.610" v="467"/>
          <ac:picMkLst>
            <pc:docMk/>
            <pc:sldMk cId="3736591673" sldId="257"/>
            <ac:picMk id="4" creationId="{DDF6A0CB-CB6D-1198-BBDC-E499751AD92F}"/>
          </ac:picMkLst>
        </pc:picChg>
        <pc:picChg chg="mod">
          <ac:chgData name="Afrin Azath" userId="f80e603bb8e34c42" providerId="LiveId" clId="{B45D2B8D-6A88-4845-83C3-988F5E649569}" dt="2023-06-07T14:28:37.610" v="467"/>
          <ac:picMkLst>
            <pc:docMk/>
            <pc:sldMk cId="3736591673" sldId="257"/>
            <ac:picMk id="5" creationId="{8C4A8C95-B0CA-CBD6-1E1E-DA63223851C0}"/>
          </ac:picMkLst>
        </pc:picChg>
        <pc:picChg chg="del mod">
          <ac:chgData name="Afrin Azath" userId="f80e603bb8e34c42" providerId="LiveId" clId="{B45D2B8D-6A88-4845-83C3-988F5E649569}" dt="2023-06-07T14:29:00.670" v="475" actId="478"/>
          <ac:picMkLst>
            <pc:docMk/>
            <pc:sldMk cId="3736591673" sldId="257"/>
            <ac:picMk id="41" creationId="{17CE4889-F56B-3D4B-B886-1D6871F883C2}"/>
          </ac:picMkLst>
        </pc:picChg>
      </pc:sldChg>
      <pc:sldChg chg="addSp delSp modSp mod ord modAnim">
        <pc:chgData name="Afrin Azath" userId="f80e603bb8e34c42" providerId="LiveId" clId="{B45D2B8D-6A88-4845-83C3-988F5E649569}" dt="2023-06-10T18:15:32.351" v="3881"/>
        <pc:sldMkLst>
          <pc:docMk/>
          <pc:sldMk cId="2148364782" sldId="258"/>
        </pc:sldMkLst>
        <pc:spChg chg="mod">
          <ac:chgData name="Afrin Azath" userId="f80e603bb8e34c42" providerId="LiveId" clId="{B45D2B8D-6A88-4845-83C3-988F5E649569}" dt="2023-06-10T13:36:38.077" v="2857" actId="478"/>
          <ac:spMkLst>
            <pc:docMk/>
            <pc:sldMk cId="2148364782" sldId="258"/>
            <ac:spMk id="3" creationId="{437DF463-3680-9FEF-1ED7-19F17A69E598}"/>
          </ac:spMkLst>
        </pc:spChg>
        <pc:spChg chg="mod">
          <ac:chgData name="Afrin Azath" userId="f80e603bb8e34c42" providerId="LiveId" clId="{B45D2B8D-6A88-4845-83C3-988F5E649569}" dt="2023-06-10T13:41:13.643" v="2929" actId="20577"/>
          <ac:spMkLst>
            <pc:docMk/>
            <pc:sldMk cId="2148364782" sldId="258"/>
            <ac:spMk id="4" creationId="{24FABDD8-C488-9C31-29B2-381E530AFE4F}"/>
          </ac:spMkLst>
        </pc:spChg>
        <pc:spChg chg="del mod">
          <ac:chgData name="Afrin Azath" userId="f80e603bb8e34c42" providerId="LiveId" clId="{B45D2B8D-6A88-4845-83C3-988F5E649569}" dt="2023-06-10T13:36:38.077" v="2857" actId="478"/>
          <ac:spMkLst>
            <pc:docMk/>
            <pc:sldMk cId="2148364782" sldId="258"/>
            <ac:spMk id="6" creationId="{35920C12-AB01-3939-7F38-CCD925443B2A}"/>
          </ac:spMkLst>
        </pc:spChg>
        <pc:spChg chg="del mod">
          <ac:chgData name="Afrin Azath" userId="f80e603bb8e34c42" providerId="LiveId" clId="{B45D2B8D-6A88-4845-83C3-988F5E649569}" dt="2023-06-10T13:36:33.976" v="2856" actId="478"/>
          <ac:spMkLst>
            <pc:docMk/>
            <pc:sldMk cId="2148364782" sldId="258"/>
            <ac:spMk id="7" creationId="{5C0ACDE7-AC8B-4EE3-0FD9-166580817692}"/>
          </ac:spMkLst>
        </pc:spChg>
        <pc:spChg chg="add mod">
          <ac:chgData name="Afrin Azath" userId="f80e603bb8e34c42" providerId="LiveId" clId="{B45D2B8D-6A88-4845-83C3-988F5E649569}" dt="2023-06-07T13:52:08.787" v="357" actId="14100"/>
          <ac:spMkLst>
            <pc:docMk/>
            <pc:sldMk cId="2148364782" sldId="258"/>
            <ac:spMk id="8" creationId="{0B87F9AE-1E2F-33A7-4737-30DA4CDE0845}"/>
          </ac:spMkLst>
        </pc:spChg>
        <pc:spChg chg="add mod">
          <ac:chgData name="Afrin Azath" userId="f80e603bb8e34c42" providerId="LiveId" clId="{B45D2B8D-6A88-4845-83C3-988F5E649569}" dt="2023-06-10T13:40:01.682" v="2878" actId="1076"/>
          <ac:spMkLst>
            <pc:docMk/>
            <pc:sldMk cId="2148364782" sldId="258"/>
            <ac:spMk id="10" creationId="{8B8DC9B4-E5AC-E77B-76F1-AE5A063BC93B}"/>
          </ac:spMkLst>
        </pc:spChg>
        <pc:spChg chg="add del mod">
          <ac:chgData name="Afrin Azath" userId="f80e603bb8e34c42" providerId="LiveId" clId="{B45D2B8D-6A88-4845-83C3-988F5E649569}" dt="2023-06-10T13:38:03.617" v="2866" actId="478"/>
          <ac:spMkLst>
            <pc:docMk/>
            <pc:sldMk cId="2148364782" sldId="258"/>
            <ac:spMk id="11" creationId="{5EB3E1C5-8315-C7ED-36DE-3B434D4F8C21}"/>
          </ac:spMkLst>
        </pc:spChg>
        <pc:spChg chg="add mod">
          <ac:chgData name="Afrin Azath" userId="f80e603bb8e34c42" providerId="LiveId" clId="{B45D2B8D-6A88-4845-83C3-988F5E649569}" dt="2023-06-10T13:39:41.117" v="2875" actId="1076"/>
          <ac:spMkLst>
            <pc:docMk/>
            <pc:sldMk cId="2148364782" sldId="258"/>
            <ac:spMk id="12" creationId="{EF7D45B6-6281-EFB4-EED3-7E1394577867}"/>
          </ac:spMkLst>
        </pc:spChg>
        <pc:spChg chg="add mod">
          <ac:chgData name="Afrin Azath" userId="f80e603bb8e34c42" providerId="LiveId" clId="{B45D2B8D-6A88-4845-83C3-988F5E649569}" dt="2023-06-10T13:40:07.101" v="2879" actId="1076"/>
          <ac:spMkLst>
            <pc:docMk/>
            <pc:sldMk cId="2148364782" sldId="258"/>
            <ac:spMk id="13" creationId="{87C7913C-452C-3B71-E776-59D4E56D1135}"/>
          </ac:spMkLst>
        </pc:spChg>
        <pc:spChg chg="mod">
          <ac:chgData name="Afrin Azath" userId="f80e603bb8e34c42" providerId="LiveId" clId="{B45D2B8D-6A88-4845-83C3-988F5E649569}" dt="2023-06-07T11:47:07.027" v="136" actId="20577"/>
          <ac:spMkLst>
            <pc:docMk/>
            <pc:sldMk cId="2148364782" sldId="258"/>
            <ac:spMk id="37" creationId="{704AC755-DD54-F341-B27E-90D0657D5991}"/>
          </ac:spMkLst>
        </pc:spChg>
        <pc:spChg chg="mod">
          <ac:chgData name="Afrin Azath" userId="f80e603bb8e34c42" providerId="LiveId" clId="{B45D2B8D-6A88-4845-83C3-988F5E649569}" dt="2023-06-10T13:40:52.709" v="2897" actId="14100"/>
          <ac:spMkLst>
            <pc:docMk/>
            <pc:sldMk cId="2148364782" sldId="258"/>
            <ac:spMk id="38" creationId="{74B0D830-E928-8F42-A5AA-406C95354CBF}"/>
          </ac:spMkLst>
        </pc:spChg>
        <pc:spChg chg="mod">
          <ac:chgData name="Afrin Azath" userId="f80e603bb8e34c42" providerId="LiveId" clId="{B45D2B8D-6A88-4845-83C3-988F5E649569}" dt="2023-06-07T13:49:04.897" v="336" actId="14100"/>
          <ac:spMkLst>
            <pc:docMk/>
            <pc:sldMk cId="2148364782" sldId="258"/>
            <ac:spMk id="39" creationId="{B58EF309-0367-E749-B091-75D53CA17E38}"/>
          </ac:spMkLst>
        </pc:spChg>
        <pc:spChg chg="mod">
          <ac:chgData name="Afrin Azath" userId="f80e603bb8e34c42" providerId="LiveId" clId="{B45D2B8D-6A88-4845-83C3-988F5E649569}" dt="2023-06-07T13:49:21.641" v="339" actId="14100"/>
          <ac:spMkLst>
            <pc:docMk/>
            <pc:sldMk cId="2148364782" sldId="258"/>
            <ac:spMk id="40" creationId="{4DEFD428-1074-254C-BA25-AF140B995983}"/>
          </ac:spMkLst>
        </pc:spChg>
        <pc:spChg chg="mod">
          <ac:chgData name="Afrin Azath" userId="f80e603bb8e34c42" providerId="LiveId" clId="{B45D2B8D-6A88-4845-83C3-988F5E649569}" dt="2023-06-10T13:35:23.537" v="2853" actId="1076"/>
          <ac:spMkLst>
            <pc:docMk/>
            <pc:sldMk cId="2148364782" sldId="258"/>
            <ac:spMk id="41" creationId="{32E3CB99-ACEF-034E-912A-8C52EFB06C35}"/>
          </ac:spMkLst>
        </pc:spChg>
        <pc:spChg chg="mod">
          <ac:chgData name="Afrin Azath" userId="f80e603bb8e34c42" providerId="LiveId" clId="{B45D2B8D-6A88-4845-83C3-988F5E649569}" dt="2023-06-10T13:35:23.537" v="2853" actId="1076"/>
          <ac:spMkLst>
            <pc:docMk/>
            <pc:sldMk cId="2148364782" sldId="258"/>
            <ac:spMk id="42" creationId="{D180F045-586C-FC49-A696-34751A72F32E}"/>
          </ac:spMkLst>
        </pc:spChg>
        <pc:spChg chg="del mod">
          <ac:chgData name="Afrin Azath" userId="f80e603bb8e34c42" providerId="LiveId" clId="{B45D2B8D-6A88-4845-83C3-988F5E649569}" dt="2023-06-07T13:42:54.014" v="282" actId="478"/>
          <ac:spMkLst>
            <pc:docMk/>
            <pc:sldMk cId="2148364782" sldId="258"/>
            <ac:spMk id="43" creationId="{F68BB169-B446-9B42-B9BA-426E90D21227}"/>
          </ac:spMkLst>
        </pc:spChg>
        <pc:spChg chg="mod">
          <ac:chgData name="Afrin Azath" userId="f80e603bb8e34c42" providerId="LiveId" clId="{B45D2B8D-6A88-4845-83C3-988F5E649569}" dt="2023-06-10T13:41:00.346" v="2899" actId="20577"/>
          <ac:spMkLst>
            <pc:docMk/>
            <pc:sldMk cId="2148364782" sldId="258"/>
            <ac:spMk id="44" creationId="{76A1FC97-0F8C-FE4E-B829-BDF14E0ED8B5}"/>
          </ac:spMkLst>
        </pc:spChg>
        <pc:spChg chg="del mod">
          <ac:chgData name="Afrin Azath" userId="f80e603bb8e34c42" providerId="LiveId" clId="{B45D2B8D-6A88-4845-83C3-988F5E649569}" dt="2023-06-07T13:42:45.319" v="279" actId="478"/>
          <ac:spMkLst>
            <pc:docMk/>
            <pc:sldMk cId="2148364782" sldId="258"/>
            <ac:spMk id="45" creationId="{98804F01-8BEF-3143-9677-344CA1EBAA18}"/>
          </ac:spMkLst>
        </pc:spChg>
        <pc:spChg chg="mod">
          <ac:chgData name="Afrin Azath" userId="f80e603bb8e34c42" providerId="LiveId" clId="{B45D2B8D-6A88-4845-83C3-988F5E649569}" dt="2023-06-07T13:49:04.897" v="336" actId="14100"/>
          <ac:spMkLst>
            <pc:docMk/>
            <pc:sldMk cId="2148364782" sldId="258"/>
            <ac:spMk id="46" creationId="{0CBBFBA9-AF3F-EA44-99F1-510AC3480F98}"/>
          </ac:spMkLst>
        </pc:spChg>
        <pc:spChg chg="del mod">
          <ac:chgData name="Afrin Azath" userId="f80e603bb8e34c42" providerId="LiveId" clId="{B45D2B8D-6A88-4845-83C3-988F5E649569}" dt="2023-06-07T13:42:27.849" v="276" actId="478"/>
          <ac:spMkLst>
            <pc:docMk/>
            <pc:sldMk cId="2148364782" sldId="258"/>
            <ac:spMk id="47" creationId="{A2800608-6CE6-B04C-81E5-C0D06B635F99}"/>
          </ac:spMkLst>
        </pc:spChg>
        <pc:spChg chg="mod">
          <ac:chgData name="Afrin Azath" userId="f80e603bb8e34c42" providerId="LiveId" clId="{B45D2B8D-6A88-4845-83C3-988F5E649569}" dt="2023-06-07T13:49:21.641" v="339" actId="14100"/>
          <ac:spMkLst>
            <pc:docMk/>
            <pc:sldMk cId="2148364782" sldId="258"/>
            <ac:spMk id="48" creationId="{A32DB724-7D95-404C-B7C6-02FCAAB6127E}"/>
          </ac:spMkLst>
        </pc:spChg>
        <pc:spChg chg="del mod">
          <ac:chgData name="Afrin Azath" userId="f80e603bb8e34c42" providerId="LiveId" clId="{B45D2B8D-6A88-4845-83C3-988F5E649569}" dt="2023-06-07T13:43:10.181" v="285" actId="478"/>
          <ac:spMkLst>
            <pc:docMk/>
            <pc:sldMk cId="2148364782" sldId="258"/>
            <ac:spMk id="49" creationId="{30CFD9D3-BA3F-4844-9B71-0921C1E3C7B7}"/>
          </ac:spMkLst>
        </pc:spChg>
        <pc:spChg chg="mod">
          <ac:chgData name="Afrin Azath" userId="f80e603bb8e34c42" providerId="LiveId" clId="{B45D2B8D-6A88-4845-83C3-988F5E649569}" dt="2023-06-07T13:49:04.897" v="336" actId="14100"/>
          <ac:spMkLst>
            <pc:docMk/>
            <pc:sldMk cId="2148364782" sldId="258"/>
            <ac:spMk id="93" creationId="{6CC7EAF9-B5C0-1047-A1C4-4D432A81F995}"/>
          </ac:spMkLst>
        </pc:spChg>
        <pc:spChg chg="mod">
          <ac:chgData name="Afrin Azath" userId="f80e603bb8e34c42" providerId="LiveId" clId="{B45D2B8D-6A88-4845-83C3-988F5E649569}" dt="2023-06-07T13:49:04.897" v="336" actId="14100"/>
          <ac:spMkLst>
            <pc:docMk/>
            <pc:sldMk cId="2148364782" sldId="258"/>
            <ac:spMk id="94" creationId="{6B71612A-D77F-D546-A33A-3D53B9F7202B}"/>
          </ac:spMkLst>
        </pc:spChg>
        <pc:spChg chg="mod">
          <ac:chgData name="Afrin Azath" userId="f80e603bb8e34c42" providerId="LiveId" clId="{B45D2B8D-6A88-4845-83C3-988F5E649569}" dt="2023-06-10T13:35:23.537" v="2853" actId="1076"/>
          <ac:spMkLst>
            <pc:docMk/>
            <pc:sldMk cId="2148364782" sldId="258"/>
            <ac:spMk id="100" creationId="{4B496CBB-0EA9-EA46-BEA3-EE11E97FA609}"/>
          </ac:spMkLst>
        </pc:spChg>
        <pc:spChg chg="mod">
          <ac:chgData name="Afrin Azath" userId="f80e603bb8e34c42" providerId="LiveId" clId="{B45D2B8D-6A88-4845-83C3-988F5E649569}" dt="2023-06-10T13:35:23.537" v="2853" actId="1076"/>
          <ac:spMkLst>
            <pc:docMk/>
            <pc:sldMk cId="2148364782" sldId="258"/>
            <ac:spMk id="101" creationId="{051D117B-5D11-354F-937B-468A2B417BE1}"/>
          </ac:spMkLst>
        </pc:spChg>
        <pc:spChg chg="mod">
          <ac:chgData name="Afrin Azath" userId="f80e603bb8e34c42" providerId="LiveId" clId="{B45D2B8D-6A88-4845-83C3-988F5E649569}" dt="2023-06-10T13:35:23.537" v="2853" actId="1076"/>
          <ac:spMkLst>
            <pc:docMk/>
            <pc:sldMk cId="2148364782" sldId="258"/>
            <ac:spMk id="102" creationId="{C5625B0D-A7B8-E143-930A-3707D98377A8}"/>
          </ac:spMkLst>
        </pc:spChg>
        <pc:spChg chg="mod">
          <ac:chgData name="Afrin Azath" userId="f80e603bb8e34c42" providerId="LiveId" clId="{B45D2B8D-6A88-4845-83C3-988F5E649569}" dt="2023-06-07T13:49:21.641" v="339" actId="14100"/>
          <ac:spMkLst>
            <pc:docMk/>
            <pc:sldMk cId="2148364782" sldId="258"/>
            <ac:spMk id="108" creationId="{4D2D47D3-9B69-F84B-8C02-FDC670D5A924}"/>
          </ac:spMkLst>
        </pc:spChg>
        <pc:spChg chg="mod">
          <ac:chgData name="Afrin Azath" userId="f80e603bb8e34c42" providerId="LiveId" clId="{B45D2B8D-6A88-4845-83C3-988F5E649569}" dt="2023-06-07T13:49:21.641" v="339" actId="14100"/>
          <ac:spMkLst>
            <pc:docMk/>
            <pc:sldMk cId="2148364782" sldId="258"/>
            <ac:spMk id="109" creationId="{514677C5-CFAA-724F-B04A-C7D0914002E1}"/>
          </ac:spMkLst>
        </pc:spChg>
        <pc:spChg chg="mod">
          <ac:chgData name="Afrin Azath" userId="f80e603bb8e34c42" providerId="LiveId" clId="{B45D2B8D-6A88-4845-83C3-988F5E649569}" dt="2023-06-07T13:49:21.641" v="339" actId="14100"/>
          <ac:spMkLst>
            <pc:docMk/>
            <pc:sldMk cId="2148364782" sldId="258"/>
            <ac:spMk id="110" creationId="{15C392AE-0978-AA4C-ACCB-24C0C2EA5014}"/>
          </ac:spMkLst>
        </pc:spChg>
        <pc:spChg chg="mod">
          <ac:chgData name="Afrin Azath" userId="f80e603bb8e34c42" providerId="LiveId" clId="{B45D2B8D-6A88-4845-83C3-988F5E649569}" dt="2023-06-07T13:49:21.641" v="339" actId="14100"/>
          <ac:spMkLst>
            <pc:docMk/>
            <pc:sldMk cId="2148364782" sldId="258"/>
            <ac:spMk id="111" creationId="{8AAFBEAA-A0FA-E14F-9866-EC36154B5F74}"/>
          </ac:spMkLst>
        </pc:spChg>
        <pc:spChg chg="mod">
          <ac:chgData name="Afrin Azath" userId="f80e603bb8e34c42" providerId="LiveId" clId="{B45D2B8D-6A88-4845-83C3-988F5E649569}" dt="2023-06-07T13:49:21.641" v="339" actId="14100"/>
          <ac:spMkLst>
            <pc:docMk/>
            <pc:sldMk cId="2148364782" sldId="258"/>
            <ac:spMk id="112" creationId="{1A346FF9-E3E3-C246-BD26-503A6DDC6AB2}"/>
          </ac:spMkLst>
        </pc:spChg>
        <pc:spChg chg="mod">
          <ac:chgData name="Afrin Azath" userId="f80e603bb8e34c42" providerId="LiveId" clId="{B45D2B8D-6A88-4845-83C3-988F5E649569}" dt="2023-06-07T13:49:21.641" v="339" actId="14100"/>
          <ac:spMkLst>
            <pc:docMk/>
            <pc:sldMk cId="2148364782" sldId="258"/>
            <ac:spMk id="113" creationId="{50C699CE-786F-F64D-B565-27B386B21F89}"/>
          </ac:spMkLst>
        </pc:spChg>
        <pc:spChg chg="mod">
          <ac:chgData name="Afrin Azath" userId="f80e603bb8e34c42" providerId="LiveId" clId="{B45D2B8D-6A88-4845-83C3-988F5E649569}" dt="2023-06-07T13:49:21.641" v="339" actId="14100"/>
          <ac:spMkLst>
            <pc:docMk/>
            <pc:sldMk cId="2148364782" sldId="258"/>
            <ac:spMk id="114" creationId="{05C94828-7610-9549-876D-F8841DAB3670}"/>
          </ac:spMkLst>
        </pc:spChg>
        <pc:spChg chg="mod">
          <ac:chgData name="Afrin Azath" userId="f80e603bb8e34c42" providerId="LiveId" clId="{B45D2B8D-6A88-4845-83C3-988F5E649569}" dt="2023-06-07T13:49:21.641" v="339" actId="14100"/>
          <ac:spMkLst>
            <pc:docMk/>
            <pc:sldMk cId="2148364782" sldId="258"/>
            <ac:spMk id="115" creationId="{15C89BDA-0AEA-9642-9C96-174525BFFDFA}"/>
          </ac:spMkLst>
        </pc:spChg>
        <pc:spChg chg="mod">
          <ac:chgData name="Afrin Azath" userId="f80e603bb8e34c42" providerId="LiveId" clId="{B45D2B8D-6A88-4845-83C3-988F5E649569}" dt="2023-06-07T13:49:21.641" v="339" actId="14100"/>
          <ac:spMkLst>
            <pc:docMk/>
            <pc:sldMk cId="2148364782" sldId="258"/>
            <ac:spMk id="116" creationId="{38ED15E3-7969-0F4B-A5C2-A051EC74F9B4}"/>
          </ac:spMkLst>
        </pc:spChg>
        <pc:spChg chg="mod">
          <ac:chgData name="Afrin Azath" userId="f80e603bb8e34c42" providerId="LiveId" clId="{B45D2B8D-6A88-4845-83C3-988F5E649569}" dt="2023-06-10T13:40:52.709" v="2897" actId="14100"/>
          <ac:spMkLst>
            <pc:docMk/>
            <pc:sldMk cId="2148364782" sldId="258"/>
            <ac:spMk id="118" creationId="{788B533A-F179-D54B-9B99-3191BC294B1C}"/>
          </ac:spMkLst>
        </pc:spChg>
        <pc:spChg chg="mod">
          <ac:chgData name="Afrin Azath" userId="f80e603bb8e34c42" providerId="LiveId" clId="{B45D2B8D-6A88-4845-83C3-988F5E649569}" dt="2023-06-10T13:40:52.709" v="2897" actId="14100"/>
          <ac:spMkLst>
            <pc:docMk/>
            <pc:sldMk cId="2148364782" sldId="258"/>
            <ac:spMk id="119" creationId="{6360D0BC-9345-D447-A767-505C197251B1}"/>
          </ac:spMkLst>
        </pc:spChg>
        <pc:spChg chg="mod">
          <ac:chgData name="Afrin Azath" userId="f80e603bb8e34c42" providerId="LiveId" clId="{B45D2B8D-6A88-4845-83C3-988F5E649569}" dt="2023-06-10T13:40:52.709" v="2897" actId="14100"/>
          <ac:spMkLst>
            <pc:docMk/>
            <pc:sldMk cId="2148364782" sldId="258"/>
            <ac:spMk id="120" creationId="{A7D07330-157D-9945-BF66-CBB312504937}"/>
          </ac:spMkLst>
        </pc:spChg>
        <pc:spChg chg="mod">
          <ac:chgData name="Afrin Azath" userId="f80e603bb8e34c42" providerId="LiveId" clId="{B45D2B8D-6A88-4845-83C3-988F5E649569}" dt="2023-06-10T13:40:52.709" v="2897" actId="14100"/>
          <ac:spMkLst>
            <pc:docMk/>
            <pc:sldMk cId="2148364782" sldId="258"/>
            <ac:spMk id="121" creationId="{354D1096-7559-AB44-A556-38C466690620}"/>
          </ac:spMkLst>
        </pc:spChg>
        <pc:spChg chg="del mod">
          <ac:chgData name="Afrin Azath" userId="f80e603bb8e34c42" providerId="LiveId" clId="{B45D2B8D-6A88-4845-83C3-988F5E649569}" dt="2023-06-07T11:47:16.668" v="138" actId="478"/>
          <ac:spMkLst>
            <pc:docMk/>
            <pc:sldMk cId="2148364782" sldId="258"/>
            <ac:spMk id="123" creationId="{E61FC219-E915-8648-A426-5AFAE2429AB7}"/>
          </ac:spMkLst>
        </pc:spChg>
        <pc:spChg chg="mod">
          <ac:chgData name="Afrin Azath" userId="f80e603bb8e34c42" providerId="LiveId" clId="{B45D2B8D-6A88-4845-83C3-988F5E649569}" dt="2023-06-07T13:49:36.126" v="341" actId="1076"/>
          <ac:spMkLst>
            <pc:docMk/>
            <pc:sldMk cId="2148364782" sldId="258"/>
            <ac:spMk id="129" creationId="{AB283590-5E12-4D4F-88BA-D9DB36FBE2DB}"/>
          </ac:spMkLst>
        </pc:spChg>
        <pc:spChg chg="mod">
          <ac:chgData name="Afrin Azath" userId="f80e603bb8e34c42" providerId="LiveId" clId="{B45D2B8D-6A88-4845-83C3-988F5E649569}" dt="2023-06-10T13:42:13.908" v="2931" actId="14100"/>
          <ac:spMkLst>
            <pc:docMk/>
            <pc:sldMk cId="2148364782" sldId="258"/>
            <ac:spMk id="130" creationId="{AA9A8244-F05F-0A4D-BB9A-C376A98B0DBB}"/>
          </ac:spMkLst>
        </pc:spChg>
        <pc:spChg chg="mod">
          <ac:chgData name="Afrin Azath" userId="f80e603bb8e34c42" providerId="LiveId" clId="{B45D2B8D-6A88-4845-83C3-988F5E649569}" dt="2023-06-07T13:52:19.950" v="359" actId="14100"/>
          <ac:spMkLst>
            <pc:docMk/>
            <pc:sldMk cId="2148364782" sldId="258"/>
            <ac:spMk id="131" creationId="{D871AAFC-6A24-D248-9838-E59DDA478E64}"/>
          </ac:spMkLst>
        </pc:spChg>
        <pc:spChg chg="mod">
          <ac:chgData name="Afrin Azath" userId="f80e603bb8e34c42" providerId="LiveId" clId="{B45D2B8D-6A88-4845-83C3-988F5E649569}" dt="2023-06-07T13:52:14.100" v="358" actId="14100"/>
          <ac:spMkLst>
            <pc:docMk/>
            <pc:sldMk cId="2148364782" sldId="258"/>
            <ac:spMk id="132" creationId="{D9C8BD27-E8CB-5045-AD36-128C2E35BB4B}"/>
          </ac:spMkLst>
        </pc:spChg>
        <pc:grpChg chg="add mod">
          <ac:chgData name="Afrin Azath" userId="f80e603bb8e34c42" providerId="LiveId" clId="{B45D2B8D-6A88-4845-83C3-988F5E649569}" dt="2023-06-10T13:39:19.318" v="2872" actId="1076"/>
          <ac:grpSpMkLst>
            <pc:docMk/>
            <pc:sldMk cId="2148364782" sldId="258"/>
            <ac:grpSpMk id="2" creationId="{BB389C68-2F4A-8CD5-0E47-944DBD201460}"/>
          </ac:grpSpMkLst>
        </pc:grpChg>
        <pc:grpChg chg="del mod">
          <ac:chgData name="Afrin Azath" userId="f80e603bb8e34c42" providerId="LiveId" clId="{B45D2B8D-6A88-4845-83C3-988F5E649569}" dt="2023-06-10T13:36:33.976" v="2856" actId="478"/>
          <ac:grpSpMkLst>
            <pc:docMk/>
            <pc:sldMk cId="2148364782" sldId="258"/>
            <ac:grpSpMk id="5" creationId="{C04FD3E9-00CE-96CE-3056-15F685AE6125}"/>
          </ac:grpSpMkLst>
        </pc:grpChg>
        <pc:grpChg chg="mod">
          <ac:chgData name="Afrin Azath" userId="f80e603bb8e34c42" providerId="LiveId" clId="{B45D2B8D-6A88-4845-83C3-988F5E649569}" dt="2023-06-07T13:49:04.897" v="336" actId="14100"/>
          <ac:grpSpMkLst>
            <pc:docMk/>
            <pc:sldMk cId="2148364782" sldId="258"/>
            <ac:grpSpMk id="92" creationId="{B1E128CB-035C-0044-B095-50E93C45A3C4}"/>
          </ac:grpSpMkLst>
        </pc:grpChg>
        <pc:grpChg chg="mod">
          <ac:chgData name="Afrin Azath" userId="f80e603bb8e34c42" providerId="LiveId" clId="{B45D2B8D-6A88-4845-83C3-988F5E649569}" dt="2023-06-10T13:35:23.537" v="2853" actId="1076"/>
          <ac:grpSpMkLst>
            <pc:docMk/>
            <pc:sldMk cId="2148364782" sldId="258"/>
            <ac:grpSpMk id="99" creationId="{F0A9A751-6127-3944-986C-F40146092C15}"/>
          </ac:grpSpMkLst>
        </pc:grpChg>
        <pc:grpChg chg="mod">
          <ac:chgData name="Afrin Azath" userId="f80e603bb8e34c42" providerId="LiveId" clId="{B45D2B8D-6A88-4845-83C3-988F5E649569}" dt="2023-06-07T13:49:21.641" v="339" actId="14100"/>
          <ac:grpSpMkLst>
            <pc:docMk/>
            <pc:sldMk cId="2148364782" sldId="258"/>
            <ac:grpSpMk id="107" creationId="{C070AAF9-8823-804E-8F3F-B37FE0C2EFB7}"/>
          </ac:grpSpMkLst>
        </pc:grpChg>
        <pc:grpChg chg="mod">
          <ac:chgData name="Afrin Azath" userId="f80e603bb8e34c42" providerId="LiveId" clId="{B45D2B8D-6A88-4845-83C3-988F5E649569}" dt="2023-06-10T13:40:52.709" v="2897" actId="14100"/>
          <ac:grpSpMkLst>
            <pc:docMk/>
            <pc:sldMk cId="2148364782" sldId="258"/>
            <ac:grpSpMk id="117" creationId="{FA14B424-97C6-C748-9AC3-B81A6CA5C8E1}"/>
          </ac:grpSpMkLst>
        </pc:grpChg>
        <pc:grpChg chg="mod">
          <ac:chgData name="Afrin Azath" userId="f80e603bb8e34c42" providerId="LiveId" clId="{B45D2B8D-6A88-4845-83C3-988F5E649569}" dt="2023-06-07T13:49:21.641" v="339" actId="14100"/>
          <ac:grpSpMkLst>
            <pc:docMk/>
            <pc:sldMk cId="2148364782" sldId="258"/>
            <ac:grpSpMk id="135" creationId="{7F279E1E-468E-D342-A7CD-DF91C124FAF3}"/>
          </ac:grpSpMkLst>
        </pc:grpChg>
        <pc:grpChg chg="mod">
          <ac:chgData name="Afrin Azath" userId="f80e603bb8e34c42" providerId="LiveId" clId="{B45D2B8D-6A88-4845-83C3-988F5E649569}" dt="2023-06-10T13:35:23.537" v="2853" actId="1076"/>
          <ac:grpSpMkLst>
            <pc:docMk/>
            <pc:sldMk cId="2148364782" sldId="258"/>
            <ac:grpSpMk id="136" creationId="{AF5AE143-C627-5B4D-9D8D-2E9225F70685}"/>
          </ac:grpSpMkLst>
        </pc:grpChg>
        <pc:grpChg chg="mod">
          <ac:chgData name="Afrin Azath" userId="f80e603bb8e34c42" providerId="LiveId" clId="{B45D2B8D-6A88-4845-83C3-988F5E649569}" dt="2023-06-10T13:40:52.709" v="2897" actId="14100"/>
          <ac:grpSpMkLst>
            <pc:docMk/>
            <pc:sldMk cId="2148364782" sldId="258"/>
            <ac:grpSpMk id="137" creationId="{A1A6AB94-A7F1-A341-9531-3FDD1CC00BDC}"/>
          </ac:grpSpMkLst>
        </pc:grpChg>
        <pc:grpChg chg="mod">
          <ac:chgData name="Afrin Azath" userId="f80e603bb8e34c42" providerId="LiveId" clId="{B45D2B8D-6A88-4845-83C3-988F5E649569}" dt="2023-06-07T13:49:04.897" v="336" actId="14100"/>
          <ac:grpSpMkLst>
            <pc:docMk/>
            <pc:sldMk cId="2148364782" sldId="258"/>
            <ac:grpSpMk id="139" creationId="{B6EF1BFA-40B8-3946-B098-D1170EA64540}"/>
          </ac:grpSpMkLst>
        </pc:grpChg>
        <pc:graphicFrameChg chg="add mod">
          <ac:chgData name="Afrin Azath" userId="f80e603bb8e34c42" providerId="LiveId" clId="{B45D2B8D-6A88-4845-83C3-988F5E649569}" dt="2023-06-10T13:36:42.740" v="2859"/>
          <ac:graphicFrameMkLst>
            <pc:docMk/>
            <pc:sldMk cId="2148364782" sldId="258"/>
            <ac:graphicFrameMk id="9" creationId="{00000000-0008-0000-0800-00000F000000}"/>
          </ac:graphicFrameMkLst>
        </pc:graphicFrameChg>
        <pc:cxnChg chg="mod">
          <ac:chgData name="Afrin Azath" userId="f80e603bb8e34c42" providerId="LiveId" clId="{B45D2B8D-6A88-4845-83C3-988F5E649569}" dt="2023-06-07T13:50:35.044" v="351" actId="1076"/>
          <ac:cxnSpMkLst>
            <pc:docMk/>
            <pc:sldMk cId="2148364782" sldId="258"/>
            <ac:cxnSpMk id="126" creationId="{D0A657A5-39D6-0243-8435-DB9F3782AA5E}"/>
          </ac:cxnSpMkLst>
        </pc:cxnChg>
      </pc:sldChg>
      <pc:sldChg chg="modSp del mod">
        <pc:chgData name="Afrin Azath" userId="f80e603bb8e34c42" providerId="LiveId" clId="{B45D2B8D-6A88-4845-83C3-988F5E649569}" dt="2023-06-10T14:05:53.684" v="3269" actId="47"/>
        <pc:sldMkLst>
          <pc:docMk/>
          <pc:sldMk cId="2174198492" sldId="259"/>
        </pc:sldMkLst>
        <pc:spChg chg="mod">
          <ac:chgData name="Afrin Azath" userId="f80e603bb8e34c42" providerId="LiveId" clId="{B45D2B8D-6A88-4845-83C3-988F5E649569}" dt="2023-06-10T13:36:13.188" v="2855" actId="1076"/>
          <ac:spMkLst>
            <pc:docMk/>
            <pc:sldMk cId="2174198492" sldId="259"/>
            <ac:spMk id="49" creationId="{C983226A-1FED-D74A-B729-EFA3C01CCFD9}"/>
          </ac:spMkLst>
        </pc:spChg>
      </pc:sldChg>
      <pc:sldChg chg="addSp delSp modSp mod">
        <pc:chgData name="Afrin Azath" userId="f80e603bb8e34c42" providerId="LiveId" clId="{B45D2B8D-6A88-4845-83C3-988F5E649569}" dt="2023-06-10T20:10:04.915" v="3970" actId="20577"/>
        <pc:sldMkLst>
          <pc:docMk/>
          <pc:sldMk cId="1139791376" sldId="260"/>
        </pc:sldMkLst>
        <pc:spChg chg="mod">
          <ac:chgData name="Afrin Azath" userId="f80e603bb8e34c42" providerId="LiveId" clId="{B45D2B8D-6A88-4845-83C3-988F5E649569}" dt="2023-06-07T14:29:27.347" v="481" actId="14100"/>
          <ac:spMkLst>
            <pc:docMk/>
            <pc:sldMk cId="1139791376" sldId="260"/>
            <ac:spMk id="15" creationId="{69F2B50D-44F7-2D4C-8FF4-26BB3602AC8D}"/>
          </ac:spMkLst>
        </pc:spChg>
        <pc:spChg chg="add del mod">
          <ac:chgData name="Afrin Azath" userId="f80e603bb8e34c42" providerId="LiveId" clId="{B45D2B8D-6A88-4845-83C3-988F5E649569}" dt="2023-06-10T20:04:00.862" v="3945" actId="1076"/>
          <ac:spMkLst>
            <pc:docMk/>
            <pc:sldMk cId="1139791376" sldId="260"/>
            <ac:spMk id="19" creationId="{DEA02C75-7E82-5148-A7D4-EF5BF80D21B2}"/>
          </ac:spMkLst>
        </pc:spChg>
        <pc:spChg chg="del mod">
          <ac:chgData name="Afrin Azath" userId="f80e603bb8e34c42" providerId="LiveId" clId="{B45D2B8D-6A88-4845-83C3-988F5E649569}" dt="2023-06-07T14:26:41.212" v="457" actId="478"/>
          <ac:spMkLst>
            <pc:docMk/>
            <pc:sldMk cId="1139791376" sldId="260"/>
            <ac:spMk id="20" creationId="{926FD9AA-7CBC-EC49-8FBC-1A919A05AC75}"/>
          </ac:spMkLst>
        </pc:spChg>
        <pc:spChg chg="mod">
          <ac:chgData name="Afrin Azath" userId="f80e603bb8e34c42" providerId="LiveId" clId="{B45D2B8D-6A88-4845-83C3-988F5E649569}" dt="2023-06-10T20:10:04.915" v="3970" actId="20577"/>
          <ac:spMkLst>
            <pc:docMk/>
            <pc:sldMk cId="1139791376" sldId="260"/>
            <ac:spMk id="21" creationId="{DCCBA348-AA22-D74E-97D5-23B1BCCC5CE8}"/>
          </ac:spMkLst>
        </pc:spChg>
        <pc:spChg chg="mod">
          <ac:chgData name="Afrin Azath" userId="f80e603bb8e34c42" providerId="LiveId" clId="{B45D2B8D-6A88-4845-83C3-988F5E649569}" dt="2023-06-07T14:26:30.676" v="453" actId="1076"/>
          <ac:spMkLst>
            <pc:docMk/>
            <pc:sldMk cId="1139791376" sldId="260"/>
            <ac:spMk id="24" creationId="{03E46C36-C928-D347-A4E1-4A3A14983257}"/>
          </ac:spMkLst>
        </pc:spChg>
        <pc:spChg chg="mod">
          <ac:chgData name="Afrin Azath" userId="f80e603bb8e34c42" providerId="LiveId" clId="{B45D2B8D-6A88-4845-83C3-988F5E649569}" dt="2023-06-07T14:26:30.676" v="453" actId="1076"/>
          <ac:spMkLst>
            <pc:docMk/>
            <pc:sldMk cId="1139791376" sldId="260"/>
            <ac:spMk id="25" creationId="{D5340140-E999-5348-9A29-0CB96C272399}"/>
          </ac:spMkLst>
        </pc:spChg>
        <pc:spChg chg="mod">
          <ac:chgData name="Afrin Azath" userId="f80e603bb8e34c42" providerId="LiveId" clId="{B45D2B8D-6A88-4845-83C3-988F5E649569}" dt="2023-06-07T14:26:30.676" v="453" actId="1076"/>
          <ac:spMkLst>
            <pc:docMk/>
            <pc:sldMk cId="1139791376" sldId="260"/>
            <ac:spMk id="26" creationId="{853B220F-3140-7D4E-BC8D-D4AA3FC5DE02}"/>
          </ac:spMkLst>
        </pc:spChg>
        <pc:grpChg chg="add del mod">
          <ac:chgData name="Afrin Azath" userId="f80e603bb8e34c42" providerId="LiveId" clId="{B45D2B8D-6A88-4845-83C3-988F5E649569}" dt="2023-06-07T15:03:36.232" v="511" actId="478"/>
          <ac:grpSpMkLst>
            <pc:docMk/>
            <pc:sldMk cId="1139791376" sldId="260"/>
            <ac:grpSpMk id="2" creationId="{4EF1F116-DBB7-5E32-9115-414DF14F8E40}"/>
          </ac:grpSpMkLst>
        </pc:grpChg>
        <pc:grpChg chg="del mod">
          <ac:chgData name="Afrin Azath" userId="f80e603bb8e34c42" providerId="LiveId" clId="{B45D2B8D-6A88-4845-83C3-988F5E649569}" dt="2023-06-07T14:26:32.550" v="454" actId="478"/>
          <ac:grpSpMkLst>
            <pc:docMk/>
            <pc:sldMk cId="1139791376" sldId="260"/>
            <ac:grpSpMk id="22" creationId="{901C8F29-3EE1-4A42-8410-685C180E07C7}"/>
          </ac:grpSpMkLst>
        </pc:grpChg>
        <pc:grpChg chg="mod">
          <ac:chgData name="Afrin Azath" userId="f80e603bb8e34c42" providerId="LiveId" clId="{B45D2B8D-6A88-4845-83C3-988F5E649569}" dt="2023-06-07T14:26:30.676" v="453" actId="1076"/>
          <ac:grpSpMkLst>
            <pc:docMk/>
            <pc:sldMk cId="1139791376" sldId="260"/>
            <ac:grpSpMk id="23" creationId="{18178947-4BDC-9D46-B171-041D79065CC7}"/>
          </ac:grpSpMkLst>
        </pc:grpChg>
        <pc:grpChg chg="del mod">
          <ac:chgData name="Afrin Azath" userId="f80e603bb8e34c42" providerId="LiveId" clId="{B45D2B8D-6A88-4845-83C3-988F5E649569}" dt="2023-06-07T15:03:37.682" v="512" actId="478"/>
          <ac:grpSpMkLst>
            <pc:docMk/>
            <pc:sldMk cId="1139791376" sldId="260"/>
            <ac:grpSpMk id="44" creationId="{AE3D6102-98F9-624F-882F-80EE7372BB2D}"/>
          </ac:grpSpMkLst>
        </pc:grpChg>
        <pc:grpChg chg="del mod">
          <ac:chgData name="Afrin Azath" userId="f80e603bb8e34c42" providerId="LiveId" clId="{B45D2B8D-6A88-4845-83C3-988F5E649569}" dt="2023-06-07T14:26:41.212" v="457" actId="478"/>
          <ac:grpSpMkLst>
            <pc:docMk/>
            <pc:sldMk cId="1139791376" sldId="260"/>
            <ac:grpSpMk id="45" creationId="{8299231E-717F-394F-8917-7CA758F64390}"/>
          </ac:grpSpMkLst>
        </pc:grpChg>
        <pc:graphicFrameChg chg="add mod">
          <ac:chgData name="Afrin Azath" userId="f80e603bb8e34c42" providerId="LiveId" clId="{B45D2B8D-6A88-4845-83C3-988F5E649569}" dt="2023-06-10T20:06:06.366" v="3948"/>
          <ac:graphicFrameMkLst>
            <pc:docMk/>
            <pc:sldMk cId="1139791376" sldId="260"/>
            <ac:graphicFrameMk id="2" creationId="{00000000-0008-0000-0800-000011000000}"/>
          </ac:graphicFrameMkLst>
        </pc:graphicFrameChg>
        <pc:graphicFrameChg chg="add del mod">
          <ac:chgData name="Afrin Azath" userId="f80e603bb8e34c42" providerId="LiveId" clId="{B45D2B8D-6A88-4845-83C3-988F5E649569}" dt="2023-06-08T17:23:00.421" v="1049" actId="478"/>
          <ac:graphicFrameMkLst>
            <pc:docMk/>
            <pc:sldMk cId="1139791376" sldId="260"/>
            <ac:graphicFrameMk id="6" creationId="{00000000-0008-0000-0800-000011000000}"/>
          </ac:graphicFrameMkLst>
        </pc:graphicFrameChg>
        <pc:picChg chg="mod">
          <ac:chgData name="Afrin Azath" userId="f80e603bb8e34c42" providerId="LiveId" clId="{B45D2B8D-6A88-4845-83C3-988F5E649569}" dt="2023-06-07T14:29:16.759" v="478"/>
          <ac:picMkLst>
            <pc:docMk/>
            <pc:sldMk cId="1139791376" sldId="260"/>
            <ac:picMk id="3" creationId="{3CE19BE0-8C9D-5981-E4B4-4BA6A10B27DA}"/>
          </ac:picMkLst>
        </pc:picChg>
        <pc:picChg chg="mod">
          <ac:chgData name="Afrin Azath" userId="f80e603bb8e34c42" providerId="LiveId" clId="{B45D2B8D-6A88-4845-83C3-988F5E649569}" dt="2023-06-07T14:29:16.759" v="478"/>
          <ac:picMkLst>
            <pc:docMk/>
            <pc:sldMk cId="1139791376" sldId="260"/>
            <ac:picMk id="4" creationId="{6D15DE78-4184-22EC-5A8A-5283197FFF72}"/>
          </ac:picMkLst>
        </pc:picChg>
        <pc:picChg chg="mod">
          <ac:chgData name="Afrin Azath" userId="f80e603bb8e34c42" providerId="LiveId" clId="{B45D2B8D-6A88-4845-83C3-988F5E649569}" dt="2023-06-07T14:29:16.759" v="478"/>
          <ac:picMkLst>
            <pc:docMk/>
            <pc:sldMk cId="1139791376" sldId="260"/>
            <ac:picMk id="5" creationId="{1CDEB3D2-81DC-193A-34AF-F9A16DBDF5DC}"/>
          </ac:picMkLst>
        </pc:picChg>
      </pc:sldChg>
      <pc:sldChg chg="addSp delSp modSp mod ord">
        <pc:chgData name="Afrin Azath" userId="f80e603bb8e34c42" providerId="LiveId" clId="{B45D2B8D-6A88-4845-83C3-988F5E649569}" dt="2023-06-09T13:30:02.474" v="2260"/>
        <pc:sldMkLst>
          <pc:docMk/>
          <pc:sldMk cId="2811068810" sldId="261"/>
        </pc:sldMkLst>
        <pc:spChg chg="del mod">
          <ac:chgData name="Afrin Azath" userId="f80e603bb8e34c42" providerId="LiveId" clId="{B45D2B8D-6A88-4845-83C3-988F5E649569}" dt="2023-06-09T13:28:35.557" v="2242" actId="478"/>
          <ac:spMkLst>
            <pc:docMk/>
            <pc:sldMk cId="2811068810" sldId="261"/>
            <ac:spMk id="10" creationId="{B4BB3BC6-2400-134B-A6E9-8C129C59DB33}"/>
          </ac:spMkLst>
        </pc:spChg>
        <pc:spChg chg="del mod">
          <ac:chgData name="Afrin Azath" userId="f80e603bb8e34c42" providerId="LiveId" clId="{B45D2B8D-6A88-4845-83C3-988F5E649569}" dt="2023-06-09T13:24:44.850" v="2184" actId="478"/>
          <ac:spMkLst>
            <pc:docMk/>
            <pc:sldMk cId="2811068810" sldId="261"/>
            <ac:spMk id="11" creationId="{CF676E08-FDF3-3A4C-BE89-2479E8A591DF}"/>
          </ac:spMkLst>
        </pc:spChg>
        <pc:spChg chg="add del mod">
          <ac:chgData name="Afrin Azath" userId="f80e603bb8e34c42" providerId="LiveId" clId="{B45D2B8D-6A88-4845-83C3-988F5E649569}" dt="2023-06-09T13:29:34.160" v="2254" actId="1076"/>
          <ac:spMkLst>
            <pc:docMk/>
            <pc:sldMk cId="2811068810" sldId="261"/>
            <ac:spMk id="13" creationId="{79CDF627-F95C-524C-8C0A-4889A183E676}"/>
          </ac:spMkLst>
        </pc:spChg>
        <pc:spChg chg="mod">
          <ac:chgData name="Afrin Azath" userId="f80e603bb8e34c42" providerId="LiveId" clId="{B45D2B8D-6A88-4845-83C3-988F5E649569}" dt="2023-06-09T13:27:58.389" v="2237" actId="478"/>
          <ac:spMkLst>
            <pc:docMk/>
            <pc:sldMk cId="2811068810" sldId="261"/>
            <ac:spMk id="14" creationId="{59BFFBAD-BCE1-5A47-A06E-67AA2D290A63}"/>
          </ac:spMkLst>
        </pc:spChg>
        <pc:spChg chg="del mod">
          <ac:chgData name="Afrin Azath" userId="f80e603bb8e34c42" providerId="LiveId" clId="{B45D2B8D-6A88-4845-83C3-988F5E649569}" dt="2023-06-09T13:27:26.924" v="2226" actId="478"/>
          <ac:spMkLst>
            <pc:docMk/>
            <pc:sldMk cId="2811068810" sldId="261"/>
            <ac:spMk id="17" creationId="{E2806710-3EC9-BD4C-8F8B-2EC02EA1A681}"/>
          </ac:spMkLst>
        </pc:spChg>
        <pc:spChg chg="del mod">
          <ac:chgData name="Afrin Azath" userId="f80e603bb8e34c42" providerId="LiveId" clId="{B45D2B8D-6A88-4845-83C3-988F5E649569}" dt="2023-06-09T13:27:28.975" v="2228" actId="478"/>
          <ac:spMkLst>
            <pc:docMk/>
            <pc:sldMk cId="2811068810" sldId="261"/>
            <ac:spMk id="18" creationId="{6E21766B-0032-F64A-98FB-4AEA56434117}"/>
          </ac:spMkLst>
        </pc:spChg>
        <pc:spChg chg="del mod">
          <ac:chgData name="Afrin Azath" userId="f80e603bb8e34c42" providerId="LiveId" clId="{B45D2B8D-6A88-4845-83C3-988F5E649569}" dt="2023-06-09T13:27:53.975" v="2236" actId="478"/>
          <ac:spMkLst>
            <pc:docMk/>
            <pc:sldMk cId="2811068810" sldId="261"/>
            <ac:spMk id="19" creationId="{47710312-A00A-AF4B-A1BE-911947B35ADB}"/>
          </ac:spMkLst>
        </pc:spChg>
        <pc:spChg chg="del mod">
          <ac:chgData name="Afrin Azath" userId="f80e603bb8e34c42" providerId="LiveId" clId="{B45D2B8D-6A88-4845-83C3-988F5E649569}" dt="2023-06-09T13:27:15.486" v="2224" actId="478"/>
          <ac:spMkLst>
            <pc:docMk/>
            <pc:sldMk cId="2811068810" sldId="261"/>
            <ac:spMk id="20" creationId="{82934790-451B-3E4D-A914-28D1E98216E6}"/>
          </ac:spMkLst>
        </pc:spChg>
        <pc:spChg chg="del mod">
          <ac:chgData name="Afrin Azath" userId="f80e603bb8e34c42" providerId="LiveId" clId="{B45D2B8D-6A88-4845-83C3-988F5E649569}" dt="2023-06-09T13:27:27.871" v="2227" actId="478"/>
          <ac:spMkLst>
            <pc:docMk/>
            <pc:sldMk cId="2811068810" sldId="261"/>
            <ac:spMk id="21" creationId="{7EF4E99F-1EC3-C04A-ABFB-56ADFE7CA147}"/>
          </ac:spMkLst>
        </pc:spChg>
        <pc:spChg chg="del mod">
          <ac:chgData name="Afrin Azath" userId="f80e603bb8e34c42" providerId="LiveId" clId="{B45D2B8D-6A88-4845-83C3-988F5E649569}" dt="2023-06-09T13:27:30.122" v="2229" actId="478"/>
          <ac:spMkLst>
            <pc:docMk/>
            <pc:sldMk cId="2811068810" sldId="261"/>
            <ac:spMk id="22" creationId="{CFC73BC4-755D-3045-A6EC-2B022FB1A1AB}"/>
          </ac:spMkLst>
        </pc:spChg>
        <pc:spChg chg="del mod">
          <ac:chgData name="Afrin Azath" userId="f80e603bb8e34c42" providerId="LiveId" clId="{B45D2B8D-6A88-4845-83C3-988F5E649569}" dt="2023-06-09T13:27:36.924" v="2232" actId="478"/>
          <ac:spMkLst>
            <pc:docMk/>
            <pc:sldMk cId="2811068810" sldId="261"/>
            <ac:spMk id="23" creationId="{80B34A69-FD2D-A34A-B312-E41B5E7FE7A0}"/>
          </ac:spMkLst>
        </pc:spChg>
        <pc:spChg chg="del mod">
          <ac:chgData name="Afrin Azath" userId="f80e603bb8e34c42" providerId="LiveId" clId="{B45D2B8D-6A88-4845-83C3-988F5E649569}" dt="2023-06-09T13:27:58.389" v="2237" actId="478"/>
          <ac:spMkLst>
            <pc:docMk/>
            <pc:sldMk cId="2811068810" sldId="261"/>
            <ac:spMk id="24" creationId="{7D04A15C-F0AB-D743-BC90-003FBFD46949}"/>
          </ac:spMkLst>
        </pc:spChg>
        <pc:spChg chg="del mod">
          <ac:chgData name="Afrin Azath" userId="f80e603bb8e34c42" providerId="LiveId" clId="{B45D2B8D-6A88-4845-83C3-988F5E649569}" dt="2023-06-09T13:27:41.836" v="2233" actId="478"/>
          <ac:spMkLst>
            <pc:docMk/>
            <pc:sldMk cId="2811068810" sldId="261"/>
            <ac:spMk id="25" creationId="{899EE321-3366-A147-9AAA-13AB2A6AA5F6}"/>
          </ac:spMkLst>
        </pc:spChg>
        <pc:grpChg chg="add del mod">
          <ac:chgData name="Afrin Azath" userId="f80e603bb8e34c42" providerId="LiveId" clId="{B45D2B8D-6A88-4845-83C3-988F5E649569}" dt="2023-06-09T13:29:51.896" v="2258" actId="14100"/>
          <ac:grpSpMkLst>
            <pc:docMk/>
            <pc:sldMk cId="2811068810" sldId="261"/>
            <ac:grpSpMk id="12" creationId="{2556B53E-2D85-FA4A-B258-5A9C4131AC19}"/>
          </ac:grpSpMkLst>
        </pc:grpChg>
        <pc:grpChg chg="del mod">
          <ac:chgData name="Afrin Azath" userId="f80e603bb8e34c42" providerId="LiveId" clId="{B45D2B8D-6A88-4845-83C3-988F5E649569}" dt="2023-06-09T13:27:53.975" v="2236" actId="478"/>
          <ac:grpSpMkLst>
            <pc:docMk/>
            <pc:sldMk cId="2811068810" sldId="261"/>
            <ac:grpSpMk id="16" creationId="{9944DB08-7963-C446-A7C7-AD1049F97DE1}"/>
          </ac:grpSpMkLst>
        </pc:grpChg>
        <pc:grpChg chg="del mod">
          <ac:chgData name="Afrin Azath" userId="f80e603bb8e34c42" providerId="LiveId" clId="{B45D2B8D-6A88-4845-83C3-988F5E649569}" dt="2023-06-09T13:24:44.850" v="2184" actId="478"/>
          <ac:grpSpMkLst>
            <pc:docMk/>
            <pc:sldMk cId="2811068810" sldId="261"/>
            <ac:grpSpMk id="26" creationId="{32608DB7-3BC4-E74F-B3E9-7CE6C3B119CF}"/>
          </ac:grpSpMkLst>
        </pc:grpChg>
        <pc:grpChg chg="del mod">
          <ac:chgData name="Afrin Azath" userId="f80e603bb8e34c42" providerId="LiveId" clId="{B45D2B8D-6A88-4845-83C3-988F5E649569}" dt="2023-06-09T13:27:58.389" v="2237" actId="478"/>
          <ac:grpSpMkLst>
            <pc:docMk/>
            <pc:sldMk cId="2811068810" sldId="261"/>
            <ac:grpSpMk id="64" creationId="{E76BDDAA-7B2C-8348-B714-2A0F8EBE93FF}"/>
          </ac:grpSpMkLst>
        </pc:grpChg>
      </pc:sldChg>
      <pc:sldChg chg="addSp delSp modSp mod modAnim">
        <pc:chgData name="Afrin Azath" userId="f80e603bb8e34c42" providerId="LiveId" clId="{B45D2B8D-6A88-4845-83C3-988F5E649569}" dt="2023-06-10T21:13:00.670" v="4048"/>
        <pc:sldMkLst>
          <pc:docMk/>
          <pc:sldMk cId="607383226" sldId="262"/>
        </pc:sldMkLst>
        <pc:spChg chg="add del mod">
          <ac:chgData name="Afrin Azath" userId="f80e603bb8e34c42" providerId="LiveId" clId="{B45D2B8D-6A88-4845-83C3-988F5E649569}" dt="2023-06-07T11:38:42.930" v="8" actId="478"/>
          <ac:spMkLst>
            <pc:docMk/>
            <pc:sldMk cId="607383226" sldId="262"/>
            <ac:spMk id="2" creationId="{9F60B323-CFD9-5507-E9B3-28F989748AFB}"/>
          </ac:spMkLst>
        </pc:spChg>
        <pc:spChg chg="add mod ord">
          <ac:chgData name="Afrin Azath" userId="f80e603bb8e34c42" providerId="LiveId" clId="{B45D2B8D-6A88-4845-83C3-988F5E649569}" dt="2023-06-07T11:41:13.901" v="79" actId="1076"/>
          <ac:spMkLst>
            <pc:docMk/>
            <pc:sldMk cId="607383226" sldId="262"/>
            <ac:spMk id="3" creationId="{C2E1FE51-1342-5F64-C619-FFD1222E3241}"/>
          </ac:spMkLst>
        </pc:spChg>
        <pc:spChg chg="add mod">
          <ac:chgData name="Afrin Azath" userId="f80e603bb8e34c42" providerId="LiveId" clId="{B45D2B8D-6A88-4845-83C3-988F5E649569}" dt="2023-06-07T11:42:20.303" v="90" actId="1076"/>
          <ac:spMkLst>
            <pc:docMk/>
            <pc:sldMk cId="607383226" sldId="262"/>
            <ac:spMk id="4" creationId="{87F0477C-CA77-FEA8-CF99-438ABA1FC8F5}"/>
          </ac:spMkLst>
        </pc:spChg>
        <pc:spChg chg="add mod ord">
          <ac:chgData name="Afrin Azath" userId="f80e603bb8e34c42" providerId="LiveId" clId="{B45D2B8D-6A88-4845-83C3-988F5E649569}" dt="2023-06-09T19:07:28.011" v="2383" actId="1076"/>
          <ac:spMkLst>
            <pc:docMk/>
            <pc:sldMk cId="607383226" sldId="262"/>
            <ac:spMk id="5" creationId="{CE1E2E9A-4159-11E2-6D44-3A3F53C4CF21}"/>
          </ac:spMkLst>
        </pc:spChg>
        <pc:spChg chg="mod ord">
          <ac:chgData name="Afrin Azath" userId="f80e603bb8e34c42" providerId="LiveId" clId="{B45D2B8D-6A88-4845-83C3-988F5E649569}" dt="2023-06-09T19:07:08.019" v="2378" actId="166"/>
          <ac:spMkLst>
            <pc:docMk/>
            <pc:sldMk cId="607383226" sldId="262"/>
            <ac:spMk id="14" creationId="{EDD4817F-3CEA-5943-9A23-F3645D75C893}"/>
          </ac:spMkLst>
        </pc:spChg>
        <pc:spChg chg="mod ord">
          <ac:chgData name="Afrin Azath" userId="f80e603bb8e34c42" providerId="LiveId" clId="{B45D2B8D-6A88-4845-83C3-988F5E649569}" dt="2023-06-09T19:06:39.870" v="2373" actId="1076"/>
          <ac:spMkLst>
            <pc:docMk/>
            <pc:sldMk cId="607383226" sldId="262"/>
            <ac:spMk id="18" creationId="{BC90A9B1-386E-E04B-8FE2-2CC159AEFC96}"/>
          </ac:spMkLst>
        </pc:spChg>
        <pc:spChg chg="del">
          <ac:chgData name="Afrin Azath" userId="f80e603bb8e34c42" providerId="LiveId" clId="{B45D2B8D-6A88-4845-83C3-988F5E649569}" dt="2023-06-07T11:39:24.007" v="63" actId="478"/>
          <ac:spMkLst>
            <pc:docMk/>
            <pc:sldMk cId="607383226" sldId="262"/>
            <ac:spMk id="19" creationId="{33554A3D-F91E-0144-B355-A31A52FAE21B}"/>
          </ac:spMkLst>
        </pc:spChg>
        <pc:spChg chg="mod ord">
          <ac:chgData name="Afrin Azath" userId="f80e603bb8e34c42" providerId="LiveId" clId="{B45D2B8D-6A88-4845-83C3-988F5E649569}" dt="2023-06-09T19:06:45.821" v="2374" actId="1076"/>
          <ac:spMkLst>
            <pc:docMk/>
            <pc:sldMk cId="607383226" sldId="262"/>
            <ac:spMk id="20" creationId="{83998152-38A8-ED40-86FA-C988A4BB0334}"/>
          </ac:spMkLst>
        </pc:spChg>
        <pc:spChg chg="del mod">
          <ac:chgData name="Afrin Azath" userId="f80e603bb8e34c42" providerId="LiveId" clId="{B45D2B8D-6A88-4845-83C3-988F5E649569}" dt="2023-06-07T11:39:41.444" v="67" actId="478"/>
          <ac:spMkLst>
            <pc:docMk/>
            <pc:sldMk cId="607383226" sldId="262"/>
            <ac:spMk id="21" creationId="{A9E55FC0-ACA4-1847-8B46-03CD274F7B57}"/>
          </ac:spMkLst>
        </pc:spChg>
        <pc:spChg chg="mod ord">
          <ac:chgData name="Afrin Azath" userId="f80e603bb8e34c42" providerId="LiveId" clId="{B45D2B8D-6A88-4845-83C3-988F5E649569}" dt="2023-06-09T19:07:41.918" v="2388" actId="20577"/>
          <ac:spMkLst>
            <pc:docMk/>
            <pc:sldMk cId="607383226" sldId="262"/>
            <ac:spMk id="22" creationId="{E04105BF-EEB7-A14F-A714-035E2CE05ED8}"/>
          </ac:spMkLst>
        </pc:spChg>
        <pc:spChg chg="del mod">
          <ac:chgData name="Afrin Azath" userId="f80e603bb8e34c42" providerId="LiveId" clId="{B45D2B8D-6A88-4845-83C3-988F5E649569}" dt="2023-06-07T11:39:34.218" v="66" actId="478"/>
          <ac:spMkLst>
            <pc:docMk/>
            <pc:sldMk cId="607383226" sldId="262"/>
            <ac:spMk id="23" creationId="{E0365FEA-F4F1-4E4E-AD5E-BD8DDFDF1EE9}"/>
          </ac:spMkLst>
        </pc:spChg>
        <pc:picChg chg="del">
          <ac:chgData name="Afrin Azath" userId="f80e603bb8e34c42" providerId="LiveId" clId="{B45D2B8D-6A88-4845-83C3-988F5E649569}" dt="2023-06-07T11:39:59.941" v="68" actId="478"/>
          <ac:picMkLst>
            <pc:docMk/>
            <pc:sldMk cId="607383226" sldId="262"/>
            <ac:picMk id="34" creationId="{B8C88AAA-29DA-4348-84B4-C69ED89B350F}"/>
          </ac:picMkLst>
        </pc:picChg>
        <pc:picChg chg="del">
          <ac:chgData name="Afrin Azath" userId="f80e603bb8e34c42" providerId="LiveId" clId="{B45D2B8D-6A88-4845-83C3-988F5E649569}" dt="2023-06-07T11:41:27.177" v="81" actId="478"/>
          <ac:picMkLst>
            <pc:docMk/>
            <pc:sldMk cId="607383226" sldId="262"/>
            <ac:picMk id="35" creationId="{83A8E0AD-5586-414E-BEDA-4BF185003106}"/>
          </ac:picMkLst>
        </pc:picChg>
        <pc:picChg chg="del">
          <ac:chgData name="Afrin Azath" userId="f80e603bb8e34c42" providerId="LiveId" clId="{B45D2B8D-6A88-4845-83C3-988F5E649569}" dt="2023-06-07T11:42:48.507" v="94" actId="478"/>
          <ac:picMkLst>
            <pc:docMk/>
            <pc:sldMk cId="607383226" sldId="262"/>
            <ac:picMk id="36" creationId="{32BBEF8F-4716-CB4E-B035-AB4CD864893A}"/>
          </ac:picMkLst>
        </pc:picChg>
      </pc:sldChg>
      <pc:sldChg chg="addSp delSp modSp mod ord">
        <pc:chgData name="Afrin Azath" userId="f80e603bb8e34c42" providerId="LiveId" clId="{B45D2B8D-6A88-4845-83C3-988F5E649569}" dt="2023-06-10T13:49:34.823" v="2992" actId="1076"/>
        <pc:sldMkLst>
          <pc:docMk/>
          <pc:sldMk cId="4118583135" sldId="263"/>
        </pc:sldMkLst>
        <pc:spChg chg="add del mod">
          <ac:chgData name="Afrin Azath" userId="f80e603bb8e34c42" providerId="LiveId" clId="{B45D2B8D-6A88-4845-83C3-988F5E649569}" dt="2023-06-09T13:06:08.018" v="1712" actId="478"/>
          <ac:spMkLst>
            <pc:docMk/>
            <pc:sldMk cId="4118583135" sldId="263"/>
            <ac:spMk id="3" creationId="{4A6EA58B-9D2C-D0B1-B23A-59283208DC81}"/>
          </ac:spMkLst>
        </pc:spChg>
        <pc:spChg chg="add mod">
          <ac:chgData name="Afrin Azath" userId="f80e603bb8e34c42" providerId="LiveId" clId="{B45D2B8D-6A88-4845-83C3-988F5E649569}" dt="2023-06-09T13:18:12.405" v="1897" actId="1076"/>
          <ac:spMkLst>
            <pc:docMk/>
            <pc:sldMk cId="4118583135" sldId="263"/>
            <ac:spMk id="4" creationId="{31739F6B-4B8E-F28C-8048-5F4E8B5998AC}"/>
          </ac:spMkLst>
        </pc:spChg>
        <pc:spChg chg="add mod">
          <ac:chgData name="Afrin Azath" userId="f80e603bb8e34c42" providerId="LiveId" clId="{B45D2B8D-6A88-4845-83C3-988F5E649569}" dt="2023-06-09T13:18:39.734" v="1901" actId="20577"/>
          <ac:spMkLst>
            <pc:docMk/>
            <pc:sldMk cId="4118583135" sldId="263"/>
            <ac:spMk id="5" creationId="{D716A8A3-C9A1-A22F-06CD-7E799AB3F86C}"/>
          </ac:spMkLst>
        </pc:spChg>
        <pc:spChg chg="add mod">
          <ac:chgData name="Afrin Azath" userId="f80e603bb8e34c42" providerId="LiveId" clId="{B45D2B8D-6A88-4845-83C3-988F5E649569}" dt="2023-06-09T13:18:43.636" v="1903" actId="20577"/>
          <ac:spMkLst>
            <pc:docMk/>
            <pc:sldMk cId="4118583135" sldId="263"/>
            <ac:spMk id="6" creationId="{3D6E9691-EED9-5A8C-3EB0-CCD672372E39}"/>
          </ac:spMkLst>
        </pc:spChg>
        <pc:spChg chg="add mod">
          <ac:chgData name="Afrin Azath" userId="f80e603bb8e34c42" providerId="LiveId" clId="{B45D2B8D-6A88-4845-83C3-988F5E649569}" dt="2023-06-09T13:18:09.857" v="1896" actId="1076"/>
          <ac:spMkLst>
            <pc:docMk/>
            <pc:sldMk cId="4118583135" sldId="263"/>
            <ac:spMk id="7" creationId="{E317A177-62AB-CF32-0086-8A74598FA398}"/>
          </ac:spMkLst>
        </pc:spChg>
        <pc:spChg chg="add del mod">
          <ac:chgData name="Afrin Azath" userId="f80e603bb8e34c42" providerId="LiveId" clId="{B45D2B8D-6A88-4845-83C3-988F5E649569}" dt="2023-06-09T13:16:51.930" v="1883" actId="478"/>
          <ac:spMkLst>
            <pc:docMk/>
            <pc:sldMk cId="4118583135" sldId="263"/>
            <ac:spMk id="8" creationId="{D0160CDE-7CF2-60B8-E524-D0A6D5FA89F4}"/>
          </ac:spMkLst>
        </pc:spChg>
        <pc:spChg chg="add mod">
          <ac:chgData name="Afrin Azath" userId="f80e603bb8e34c42" providerId="LiveId" clId="{B45D2B8D-6A88-4845-83C3-988F5E649569}" dt="2023-06-09T13:18:47.197" v="1905" actId="20577"/>
          <ac:spMkLst>
            <pc:docMk/>
            <pc:sldMk cId="4118583135" sldId="263"/>
            <ac:spMk id="9" creationId="{9D3B55C2-DD4A-3C92-AC5A-C7B0DB895CDF}"/>
          </ac:spMkLst>
        </pc:spChg>
        <pc:spChg chg="add del mod">
          <ac:chgData name="Afrin Azath" userId="f80e603bb8e34c42" providerId="LiveId" clId="{B45D2B8D-6A88-4845-83C3-988F5E649569}" dt="2023-06-09T13:18:32.416" v="1899"/>
          <ac:spMkLst>
            <pc:docMk/>
            <pc:sldMk cId="4118583135" sldId="263"/>
            <ac:spMk id="10" creationId="{331315AD-3D14-5602-0AA7-C38A823AA9D1}"/>
          </ac:spMkLst>
        </pc:spChg>
        <pc:spChg chg="add mod">
          <ac:chgData name="Afrin Azath" userId="f80e603bb8e34c42" providerId="LiveId" clId="{B45D2B8D-6A88-4845-83C3-988F5E649569}" dt="2023-06-10T13:49:30.833" v="2991" actId="1076"/>
          <ac:spMkLst>
            <pc:docMk/>
            <pc:sldMk cId="4118583135" sldId="263"/>
            <ac:spMk id="11" creationId="{8AC4E5EB-2D91-6065-466D-E5BD44D9D351}"/>
          </ac:spMkLst>
        </pc:spChg>
        <pc:spChg chg="add mod">
          <ac:chgData name="Afrin Azath" userId="f80e603bb8e34c42" providerId="LiveId" clId="{B45D2B8D-6A88-4845-83C3-988F5E649569}" dt="2023-06-09T13:23:11.941" v="2180" actId="1076"/>
          <ac:spMkLst>
            <pc:docMk/>
            <pc:sldMk cId="4118583135" sldId="263"/>
            <ac:spMk id="12" creationId="{4C45FC9D-7671-0C93-85AB-F95EC9801981}"/>
          </ac:spMkLst>
        </pc:spChg>
        <pc:spChg chg="add mod">
          <ac:chgData name="Afrin Azath" userId="f80e603bb8e34c42" providerId="LiveId" clId="{B45D2B8D-6A88-4845-83C3-988F5E649569}" dt="2023-06-09T13:23:07.400" v="2179" actId="1076"/>
          <ac:spMkLst>
            <pc:docMk/>
            <pc:sldMk cId="4118583135" sldId="263"/>
            <ac:spMk id="13" creationId="{6856522D-F8AD-3A35-C132-F06BE4757435}"/>
          </ac:spMkLst>
        </pc:spChg>
        <pc:spChg chg="add mod">
          <ac:chgData name="Afrin Azath" userId="f80e603bb8e34c42" providerId="LiveId" clId="{B45D2B8D-6A88-4845-83C3-988F5E649569}" dt="2023-06-10T13:49:34.823" v="2992" actId="1076"/>
          <ac:spMkLst>
            <pc:docMk/>
            <pc:sldMk cId="4118583135" sldId="263"/>
            <ac:spMk id="14" creationId="{EF256FC1-4479-DF56-BB88-75450F784FCC}"/>
          </ac:spMkLst>
        </pc:spChg>
        <pc:spChg chg="mod">
          <ac:chgData name="Afrin Azath" userId="f80e603bb8e34c42" providerId="LiveId" clId="{B45D2B8D-6A88-4845-83C3-988F5E649569}" dt="2023-06-09T13:08:53.798" v="1789" actId="1076"/>
          <ac:spMkLst>
            <pc:docMk/>
            <pc:sldMk cId="4118583135" sldId="263"/>
            <ac:spMk id="32" creationId="{2145700A-3257-D045-B8F9-361131693AD5}"/>
          </ac:spMkLst>
        </pc:spChg>
        <pc:spChg chg="mod">
          <ac:chgData name="Afrin Azath" userId="f80e603bb8e34c42" providerId="LiveId" clId="{B45D2B8D-6A88-4845-83C3-988F5E649569}" dt="2023-06-09T13:17:44.740" v="1892" actId="1076"/>
          <ac:spMkLst>
            <pc:docMk/>
            <pc:sldMk cId="4118583135" sldId="263"/>
            <ac:spMk id="49" creationId="{6241DAB9-04E0-394A-822D-62D47D87B799}"/>
          </ac:spMkLst>
        </pc:spChg>
        <pc:spChg chg="mod">
          <ac:chgData name="Afrin Azath" userId="f80e603bb8e34c42" providerId="LiveId" clId="{B45D2B8D-6A88-4845-83C3-988F5E649569}" dt="2023-06-09T13:18:05.665" v="1895" actId="1076"/>
          <ac:spMkLst>
            <pc:docMk/>
            <pc:sldMk cId="4118583135" sldId="263"/>
            <ac:spMk id="51" creationId="{A80284DC-CF12-E54F-A6F1-A341ABE1432E}"/>
          </ac:spMkLst>
        </pc:spChg>
        <pc:spChg chg="del mod">
          <ac:chgData name="Afrin Azath" userId="f80e603bb8e34c42" providerId="LiveId" clId="{B45D2B8D-6A88-4845-83C3-988F5E649569}" dt="2023-06-09T13:16:17.285" v="1873" actId="478"/>
          <ac:spMkLst>
            <pc:docMk/>
            <pc:sldMk cId="4118583135" sldId="263"/>
            <ac:spMk id="53" creationId="{5457055D-35D1-664A-B944-3FAC981AA9D0}"/>
          </ac:spMkLst>
        </pc:spChg>
        <pc:spChg chg="mod">
          <ac:chgData name="Afrin Azath" userId="f80e603bb8e34c42" providerId="LiveId" clId="{B45D2B8D-6A88-4845-83C3-988F5E649569}" dt="2023-06-09T13:18:49.805" v="1907" actId="20577"/>
          <ac:spMkLst>
            <pc:docMk/>
            <pc:sldMk cId="4118583135" sldId="263"/>
            <ac:spMk id="54" creationId="{F28350DE-C628-8C41-8470-E69CD7FDF340}"/>
          </ac:spMkLst>
        </pc:spChg>
        <pc:spChg chg="mod">
          <ac:chgData name="Afrin Azath" userId="f80e603bb8e34c42" providerId="LiveId" clId="{B45D2B8D-6A88-4845-83C3-988F5E649569}" dt="2023-06-09T13:19:58.418" v="1915" actId="1076"/>
          <ac:spMkLst>
            <pc:docMk/>
            <pc:sldMk cId="4118583135" sldId="263"/>
            <ac:spMk id="57" creationId="{5F1CA19B-978C-9444-BC2C-8D8BB8B73F1C}"/>
          </ac:spMkLst>
        </pc:spChg>
        <pc:spChg chg="del mod">
          <ac:chgData name="Afrin Azath" userId="f80e603bb8e34c42" providerId="LiveId" clId="{B45D2B8D-6A88-4845-83C3-988F5E649569}" dt="2023-06-09T13:02:59.830" v="1582" actId="478"/>
          <ac:spMkLst>
            <pc:docMk/>
            <pc:sldMk cId="4118583135" sldId="263"/>
            <ac:spMk id="58" creationId="{3C4D90C8-5B11-E048-B474-30C43E52BA35}"/>
          </ac:spMkLst>
        </pc:spChg>
        <pc:spChg chg="mod">
          <ac:chgData name="Afrin Azath" userId="f80e603bb8e34c42" providerId="LiveId" clId="{B45D2B8D-6A88-4845-83C3-988F5E649569}" dt="2023-06-09T13:19:33.876" v="1913" actId="1076"/>
          <ac:spMkLst>
            <pc:docMk/>
            <pc:sldMk cId="4118583135" sldId="263"/>
            <ac:spMk id="59" creationId="{0821A6B1-5BF4-0F4C-8F42-99518969EB7E}"/>
          </ac:spMkLst>
        </pc:spChg>
        <pc:spChg chg="del">
          <ac:chgData name="Afrin Azath" userId="f80e603bb8e34c42" providerId="LiveId" clId="{B45D2B8D-6A88-4845-83C3-988F5E649569}" dt="2023-06-09T13:02:55.090" v="1580" actId="478"/>
          <ac:spMkLst>
            <pc:docMk/>
            <pc:sldMk cId="4118583135" sldId="263"/>
            <ac:spMk id="60" creationId="{B7EFED33-3BAC-C84E-BC8F-AF8B7E94E323}"/>
          </ac:spMkLst>
        </pc:spChg>
        <pc:spChg chg="mod">
          <ac:chgData name="Afrin Azath" userId="f80e603bb8e34c42" providerId="LiveId" clId="{B45D2B8D-6A88-4845-83C3-988F5E649569}" dt="2023-06-09T13:19:27.542" v="1912" actId="1076"/>
          <ac:spMkLst>
            <pc:docMk/>
            <pc:sldMk cId="4118583135" sldId="263"/>
            <ac:spMk id="62" creationId="{02E65487-ABD9-2842-B73E-580376BFB6C2}"/>
          </ac:spMkLst>
        </pc:spChg>
        <pc:spChg chg="del mod">
          <ac:chgData name="Afrin Azath" userId="f80e603bb8e34c42" providerId="LiveId" clId="{B45D2B8D-6A88-4845-83C3-988F5E649569}" dt="2023-06-09T13:03:37.958" v="1626" actId="478"/>
          <ac:spMkLst>
            <pc:docMk/>
            <pc:sldMk cId="4118583135" sldId="263"/>
            <ac:spMk id="63" creationId="{2C2EC537-5684-E846-AA54-7DB53A94B968}"/>
          </ac:spMkLst>
        </pc:spChg>
        <pc:spChg chg="mod">
          <ac:chgData name="Afrin Azath" userId="f80e603bb8e34c42" providerId="LiveId" clId="{B45D2B8D-6A88-4845-83C3-988F5E649569}" dt="2023-06-09T13:19:13.808" v="1910" actId="1076"/>
          <ac:spMkLst>
            <pc:docMk/>
            <pc:sldMk cId="4118583135" sldId="263"/>
            <ac:spMk id="64" creationId="{882C2105-1F2A-874F-A291-85A85B155C76}"/>
          </ac:spMkLst>
        </pc:spChg>
        <pc:spChg chg="del mod">
          <ac:chgData name="Afrin Azath" userId="f80e603bb8e34c42" providerId="LiveId" clId="{B45D2B8D-6A88-4845-83C3-988F5E649569}" dt="2023-06-09T13:07:32.816" v="1778" actId="478"/>
          <ac:spMkLst>
            <pc:docMk/>
            <pc:sldMk cId="4118583135" sldId="263"/>
            <ac:spMk id="65" creationId="{45E1B88B-EB05-674B-A79D-80111442D974}"/>
          </ac:spMkLst>
        </pc:spChg>
        <pc:spChg chg="mod">
          <ac:chgData name="Afrin Azath" userId="f80e603bb8e34c42" providerId="LiveId" clId="{B45D2B8D-6A88-4845-83C3-988F5E649569}" dt="2023-06-09T13:09:18.936" v="1797" actId="1076"/>
          <ac:spMkLst>
            <pc:docMk/>
            <pc:sldMk cId="4118583135" sldId="263"/>
            <ac:spMk id="70" creationId="{8D0AF492-5BCD-7848-8811-7207404BFDE1}"/>
          </ac:spMkLst>
        </pc:spChg>
        <pc:spChg chg="mod">
          <ac:chgData name="Afrin Azath" userId="f80e603bb8e34c42" providerId="LiveId" clId="{B45D2B8D-6A88-4845-83C3-988F5E649569}" dt="2023-06-09T13:09:21.423" v="1798" actId="1076"/>
          <ac:spMkLst>
            <pc:docMk/>
            <pc:sldMk cId="4118583135" sldId="263"/>
            <ac:spMk id="71" creationId="{38043FDF-F317-8746-9CBA-80355389F366}"/>
          </ac:spMkLst>
        </pc:spChg>
        <pc:spChg chg="mod">
          <ac:chgData name="Afrin Azath" userId="f80e603bb8e34c42" providerId="LiveId" clId="{B45D2B8D-6A88-4845-83C3-988F5E649569}" dt="2023-06-09T13:09:25.260" v="1799" actId="1076"/>
          <ac:spMkLst>
            <pc:docMk/>
            <pc:sldMk cId="4118583135" sldId="263"/>
            <ac:spMk id="74" creationId="{C5E95428-BFB3-C344-B99A-BF5E5246633B}"/>
          </ac:spMkLst>
        </pc:spChg>
        <pc:spChg chg="mod">
          <ac:chgData name="Afrin Azath" userId="f80e603bb8e34c42" providerId="LiveId" clId="{B45D2B8D-6A88-4845-83C3-988F5E649569}" dt="2023-06-09T13:09:25.260" v="1799" actId="1076"/>
          <ac:spMkLst>
            <pc:docMk/>
            <pc:sldMk cId="4118583135" sldId="263"/>
            <ac:spMk id="75" creationId="{841DBE49-D161-A642-8603-514F271F15F3}"/>
          </ac:spMkLst>
        </pc:spChg>
        <pc:spChg chg="mod">
          <ac:chgData name="Afrin Azath" userId="f80e603bb8e34c42" providerId="LiveId" clId="{B45D2B8D-6A88-4845-83C3-988F5E649569}" dt="2023-06-09T13:09:25.260" v="1799" actId="1076"/>
          <ac:spMkLst>
            <pc:docMk/>
            <pc:sldMk cId="4118583135" sldId="263"/>
            <ac:spMk id="76" creationId="{8AA58594-58EA-CC4A-937E-3C06F61FA78A}"/>
          </ac:spMkLst>
        </pc:spChg>
        <pc:spChg chg="mod">
          <ac:chgData name="Afrin Azath" userId="f80e603bb8e34c42" providerId="LiveId" clId="{B45D2B8D-6A88-4845-83C3-988F5E649569}" dt="2023-06-09T13:09:25.260" v="1799" actId="1076"/>
          <ac:spMkLst>
            <pc:docMk/>
            <pc:sldMk cId="4118583135" sldId="263"/>
            <ac:spMk id="77" creationId="{5110A7D0-2102-6244-9DAB-C8FD1FDF197D}"/>
          </ac:spMkLst>
        </pc:spChg>
        <pc:spChg chg="mod">
          <ac:chgData name="Afrin Azath" userId="f80e603bb8e34c42" providerId="LiveId" clId="{B45D2B8D-6A88-4845-83C3-988F5E649569}" dt="2023-06-09T13:09:25.260" v="1799" actId="1076"/>
          <ac:spMkLst>
            <pc:docMk/>
            <pc:sldMk cId="4118583135" sldId="263"/>
            <ac:spMk id="78" creationId="{7D113355-7D24-6348-A4C2-DE320C98DEFC}"/>
          </ac:spMkLst>
        </pc:spChg>
        <pc:spChg chg="mod">
          <ac:chgData name="Afrin Azath" userId="f80e603bb8e34c42" providerId="LiveId" clId="{B45D2B8D-6A88-4845-83C3-988F5E649569}" dt="2023-06-09T13:09:28.461" v="1800" actId="1076"/>
          <ac:spMkLst>
            <pc:docMk/>
            <pc:sldMk cId="4118583135" sldId="263"/>
            <ac:spMk id="79" creationId="{E1843A7C-7C12-1F42-93C2-AE1997579B0C}"/>
          </ac:spMkLst>
        </pc:spChg>
        <pc:spChg chg="mod">
          <ac:chgData name="Afrin Azath" userId="f80e603bb8e34c42" providerId="LiveId" clId="{B45D2B8D-6A88-4845-83C3-988F5E649569}" dt="2023-06-09T13:09:28.461" v="1800" actId="1076"/>
          <ac:spMkLst>
            <pc:docMk/>
            <pc:sldMk cId="4118583135" sldId="263"/>
            <ac:spMk id="80" creationId="{8D924211-BF03-E540-8347-B8489099675D}"/>
          </ac:spMkLst>
        </pc:spChg>
        <pc:spChg chg="mod">
          <ac:chgData name="Afrin Azath" userId="f80e603bb8e34c42" providerId="LiveId" clId="{B45D2B8D-6A88-4845-83C3-988F5E649569}" dt="2023-06-09T13:09:28.461" v="1800" actId="1076"/>
          <ac:spMkLst>
            <pc:docMk/>
            <pc:sldMk cId="4118583135" sldId="263"/>
            <ac:spMk id="81" creationId="{AD2BA938-27EA-B340-B190-0DEB1034F2A7}"/>
          </ac:spMkLst>
        </pc:spChg>
        <pc:spChg chg="del mod">
          <ac:chgData name="Afrin Azath" userId="f80e603bb8e34c42" providerId="LiveId" clId="{B45D2B8D-6A88-4845-83C3-988F5E649569}" dt="2023-06-09T13:13:49.636" v="1843" actId="478"/>
          <ac:spMkLst>
            <pc:docMk/>
            <pc:sldMk cId="4118583135" sldId="263"/>
            <ac:spMk id="82" creationId="{485B4BF6-727F-D949-B12A-CDC119C23FD6}"/>
          </ac:spMkLst>
        </pc:spChg>
        <pc:spChg chg="del mod">
          <ac:chgData name="Afrin Azath" userId="f80e603bb8e34c42" providerId="LiveId" clId="{B45D2B8D-6A88-4845-83C3-988F5E649569}" dt="2023-06-09T13:14:11.452" v="1851" actId="478"/>
          <ac:spMkLst>
            <pc:docMk/>
            <pc:sldMk cId="4118583135" sldId="263"/>
            <ac:spMk id="83" creationId="{4BE71D38-3F9E-B243-9A7D-AE948459A6D9}"/>
          </ac:spMkLst>
        </pc:spChg>
        <pc:spChg chg="del mod">
          <ac:chgData name="Afrin Azath" userId="f80e603bb8e34c42" providerId="LiveId" clId="{B45D2B8D-6A88-4845-83C3-988F5E649569}" dt="2023-06-09T13:16:42.536" v="1879" actId="478"/>
          <ac:spMkLst>
            <pc:docMk/>
            <pc:sldMk cId="4118583135" sldId="263"/>
            <ac:spMk id="85" creationId="{8EC39670-1D1F-BF42-A7E1-E3AD89204746}"/>
          </ac:spMkLst>
        </pc:spChg>
        <pc:spChg chg="del mod">
          <ac:chgData name="Afrin Azath" userId="f80e603bb8e34c42" providerId="LiveId" clId="{B45D2B8D-6A88-4845-83C3-988F5E649569}" dt="2023-06-09T13:16:44.140" v="1880" actId="478"/>
          <ac:spMkLst>
            <pc:docMk/>
            <pc:sldMk cId="4118583135" sldId="263"/>
            <ac:spMk id="86" creationId="{8A80123B-AAB3-A143-AE5A-BE2D5FD98DD0}"/>
          </ac:spMkLst>
        </pc:spChg>
        <pc:spChg chg="del mod">
          <ac:chgData name="Afrin Azath" userId="f80e603bb8e34c42" providerId="LiveId" clId="{B45D2B8D-6A88-4845-83C3-988F5E649569}" dt="2023-06-09T13:16:40.766" v="1878" actId="478"/>
          <ac:spMkLst>
            <pc:docMk/>
            <pc:sldMk cId="4118583135" sldId="263"/>
            <ac:spMk id="87" creationId="{CBF06657-A322-F94F-A846-EFACBE9AB62A}"/>
          </ac:spMkLst>
        </pc:spChg>
        <pc:spChg chg="mod">
          <ac:chgData name="Afrin Azath" userId="f80e603bb8e34c42" providerId="LiveId" clId="{B45D2B8D-6A88-4845-83C3-988F5E649569}" dt="2023-06-09T13:17:44.740" v="1892" actId="1076"/>
          <ac:spMkLst>
            <pc:docMk/>
            <pc:sldMk cId="4118583135" sldId="263"/>
            <ac:spMk id="89" creationId="{34C5887C-93FF-C74B-9A29-A842545E34CA}"/>
          </ac:spMkLst>
        </pc:spChg>
        <pc:spChg chg="del mod">
          <ac:chgData name="Afrin Azath" userId="f80e603bb8e34c42" providerId="LiveId" clId="{B45D2B8D-6A88-4845-83C3-988F5E649569}" dt="2023-06-09T13:15:46.063" v="1869" actId="478"/>
          <ac:spMkLst>
            <pc:docMk/>
            <pc:sldMk cId="4118583135" sldId="263"/>
            <ac:spMk id="90" creationId="{07D04AAC-0527-B640-8511-91E38FF4FF19}"/>
          </ac:spMkLst>
        </pc:spChg>
        <pc:spChg chg="del mod">
          <ac:chgData name="Afrin Azath" userId="f80e603bb8e34c42" providerId="LiveId" clId="{B45D2B8D-6A88-4845-83C3-988F5E649569}" dt="2023-06-09T13:15:34.453" v="1866" actId="478"/>
          <ac:spMkLst>
            <pc:docMk/>
            <pc:sldMk cId="4118583135" sldId="263"/>
            <ac:spMk id="91" creationId="{DC0FE17A-2CA9-8642-AA96-4ED66C565373}"/>
          </ac:spMkLst>
        </pc:spChg>
        <pc:spChg chg="del mod">
          <ac:chgData name="Afrin Azath" userId="f80e603bb8e34c42" providerId="LiveId" clId="{B45D2B8D-6A88-4845-83C3-988F5E649569}" dt="2023-06-09T13:15:43.037" v="1868" actId="478"/>
          <ac:spMkLst>
            <pc:docMk/>
            <pc:sldMk cId="4118583135" sldId="263"/>
            <ac:spMk id="92" creationId="{020E8EFE-39E0-E34D-88A5-98937A7F0072}"/>
          </ac:spMkLst>
        </pc:spChg>
        <pc:spChg chg="del mod">
          <ac:chgData name="Afrin Azath" userId="f80e603bb8e34c42" providerId="LiveId" clId="{B45D2B8D-6A88-4845-83C3-988F5E649569}" dt="2023-06-09T13:15:36.071" v="1867" actId="478"/>
          <ac:spMkLst>
            <pc:docMk/>
            <pc:sldMk cId="4118583135" sldId="263"/>
            <ac:spMk id="93" creationId="{9035AE61-638A-1441-ADBB-221E79E9AF21}"/>
          </ac:spMkLst>
        </pc:spChg>
        <pc:grpChg chg="mod">
          <ac:chgData name="Afrin Azath" userId="f80e603bb8e34c42" providerId="LiveId" clId="{B45D2B8D-6A88-4845-83C3-988F5E649569}" dt="2023-06-09T13:09:15.613" v="1796" actId="1076"/>
          <ac:grpSpMkLst>
            <pc:docMk/>
            <pc:sldMk cId="4118583135" sldId="263"/>
            <ac:grpSpMk id="66" creationId="{BA14AAE1-3D82-D846-B804-46605350D8A4}"/>
          </ac:grpSpMkLst>
        </pc:grpChg>
        <pc:grpChg chg="mod">
          <ac:chgData name="Afrin Azath" userId="f80e603bb8e34c42" providerId="LiveId" clId="{B45D2B8D-6A88-4845-83C3-988F5E649569}" dt="2023-06-09T13:09:28.461" v="1800" actId="1076"/>
          <ac:grpSpMkLst>
            <pc:docMk/>
            <pc:sldMk cId="4118583135" sldId="263"/>
            <ac:grpSpMk id="72" creationId="{790E8854-E8A5-724D-BAA2-EB96EE492C41}"/>
          </ac:grpSpMkLst>
        </pc:grpChg>
        <pc:grpChg chg="mod">
          <ac:chgData name="Afrin Azath" userId="f80e603bb8e34c42" providerId="LiveId" clId="{B45D2B8D-6A88-4845-83C3-988F5E649569}" dt="2023-06-09T13:09:25.260" v="1799" actId="1076"/>
          <ac:grpSpMkLst>
            <pc:docMk/>
            <pc:sldMk cId="4118583135" sldId="263"/>
            <ac:grpSpMk id="73" creationId="{054E29CC-FD21-0744-8F68-37EA7DE08EC5}"/>
          </ac:grpSpMkLst>
        </pc:grpChg>
        <pc:grpChg chg="del mod">
          <ac:chgData name="Afrin Azath" userId="f80e603bb8e34c42" providerId="LiveId" clId="{B45D2B8D-6A88-4845-83C3-988F5E649569}" dt="2023-06-09T13:16:42.536" v="1879" actId="478"/>
          <ac:grpSpMkLst>
            <pc:docMk/>
            <pc:sldMk cId="4118583135" sldId="263"/>
            <ac:grpSpMk id="84" creationId="{A4AAEA1E-825C-6A40-A1BE-D6D4C64EF0F1}"/>
          </ac:grpSpMkLst>
        </pc:grpChg>
        <pc:grpChg chg="del mod">
          <ac:chgData name="Afrin Azath" userId="f80e603bb8e34c42" providerId="LiveId" clId="{B45D2B8D-6A88-4845-83C3-988F5E649569}" dt="2023-06-09T13:15:46.063" v="1869" actId="478"/>
          <ac:grpSpMkLst>
            <pc:docMk/>
            <pc:sldMk cId="4118583135" sldId="263"/>
            <ac:grpSpMk id="88" creationId="{2060AAA9-86FC-4B4A-84BE-7C5ACA93174E}"/>
          </ac:grpSpMkLst>
        </pc:grpChg>
        <pc:grpChg chg="del mod">
          <ac:chgData name="Afrin Azath" userId="f80e603bb8e34c42" providerId="LiveId" clId="{B45D2B8D-6A88-4845-83C3-988F5E649569}" dt="2023-06-09T13:16:44.140" v="1880" actId="478"/>
          <ac:grpSpMkLst>
            <pc:docMk/>
            <pc:sldMk cId="4118583135" sldId="263"/>
            <ac:grpSpMk id="94" creationId="{4A6AAB89-1CCA-0E4F-94ED-C0DACD017020}"/>
          </ac:grpSpMkLst>
        </pc:grpChg>
        <pc:grpChg chg="del mod">
          <ac:chgData name="Afrin Azath" userId="f80e603bb8e34c42" providerId="LiveId" clId="{B45D2B8D-6A88-4845-83C3-988F5E649569}" dt="2023-06-09T13:16:17.285" v="1873" actId="478"/>
          <ac:grpSpMkLst>
            <pc:docMk/>
            <pc:sldMk cId="4118583135" sldId="263"/>
            <ac:grpSpMk id="95" creationId="{C3445C7E-54D9-B548-BCE1-534E9B4525B4}"/>
          </ac:grpSpMkLst>
        </pc:grpChg>
        <pc:grpChg chg="del mod">
          <ac:chgData name="Afrin Azath" userId="f80e603bb8e34c42" providerId="LiveId" clId="{B45D2B8D-6A88-4845-83C3-988F5E649569}" dt="2023-06-09T13:13:49.636" v="1843" actId="478"/>
          <ac:grpSpMkLst>
            <pc:docMk/>
            <pc:sldMk cId="4118583135" sldId="263"/>
            <ac:grpSpMk id="96" creationId="{1FBC34CC-0B68-2840-89E4-5FF12CBA36F5}"/>
          </ac:grpSpMkLst>
        </pc:grpChg>
        <pc:grpChg chg="del mod">
          <ac:chgData name="Afrin Azath" userId="f80e603bb8e34c42" providerId="LiveId" clId="{B45D2B8D-6A88-4845-83C3-988F5E649569}" dt="2023-06-09T13:14:11.452" v="1851" actId="478"/>
          <ac:grpSpMkLst>
            <pc:docMk/>
            <pc:sldMk cId="4118583135" sldId="263"/>
            <ac:grpSpMk id="97" creationId="{CFE82D40-3B1A-B447-9067-094BF4A7332A}"/>
          </ac:grpSpMkLst>
        </pc:grpChg>
        <pc:grpChg chg="del mod">
          <ac:chgData name="Afrin Azath" userId="f80e603bb8e34c42" providerId="LiveId" clId="{B45D2B8D-6A88-4845-83C3-988F5E649569}" dt="2023-06-09T13:07:32.816" v="1778" actId="478"/>
          <ac:grpSpMkLst>
            <pc:docMk/>
            <pc:sldMk cId="4118583135" sldId="263"/>
            <ac:grpSpMk id="98" creationId="{946B63A4-FB03-9D40-A03E-D5B204228F6A}"/>
          </ac:grpSpMkLst>
        </pc:grpChg>
        <pc:grpChg chg="del mod">
          <ac:chgData name="Afrin Azath" userId="f80e603bb8e34c42" providerId="LiveId" clId="{B45D2B8D-6A88-4845-83C3-988F5E649569}" dt="2023-06-09T13:03:37.958" v="1626" actId="478"/>
          <ac:grpSpMkLst>
            <pc:docMk/>
            <pc:sldMk cId="4118583135" sldId="263"/>
            <ac:grpSpMk id="99" creationId="{300DC3C8-C532-E64D-A0D3-288D7EDD1195}"/>
          </ac:grpSpMkLst>
        </pc:grpChg>
        <pc:grpChg chg="del mod">
          <ac:chgData name="Afrin Azath" userId="f80e603bb8e34c42" providerId="LiveId" clId="{B45D2B8D-6A88-4845-83C3-988F5E649569}" dt="2023-06-09T13:02:55.090" v="1580" actId="478"/>
          <ac:grpSpMkLst>
            <pc:docMk/>
            <pc:sldMk cId="4118583135" sldId="263"/>
            <ac:grpSpMk id="105" creationId="{EB515DC0-8403-A541-A662-37EAE0836B31}"/>
          </ac:grpSpMkLst>
        </pc:grpChg>
        <pc:grpChg chg="del mod">
          <ac:chgData name="Afrin Azath" userId="f80e603bb8e34c42" providerId="LiveId" clId="{B45D2B8D-6A88-4845-83C3-988F5E649569}" dt="2023-06-09T13:02:59.830" v="1582" actId="478"/>
          <ac:grpSpMkLst>
            <pc:docMk/>
            <pc:sldMk cId="4118583135" sldId="263"/>
            <ac:grpSpMk id="106" creationId="{B6424296-8462-2D4F-A444-02CE3FECB343}"/>
          </ac:grpSpMkLst>
        </pc:grpChg>
        <pc:grpChg chg="mod">
          <ac:chgData name="Afrin Azath" userId="f80e603bb8e34c42" providerId="LiveId" clId="{B45D2B8D-6A88-4845-83C3-988F5E649569}" dt="2023-06-09T13:17:44.740" v="1892" actId="1076"/>
          <ac:grpSpMkLst>
            <pc:docMk/>
            <pc:sldMk cId="4118583135" sldId="263"/>
            <ac:grpSpMk id="108" creationId="{814778D4-74D4-1B4D-BB64-411F9D654537}"/>
          </ac:grpSpMkLst>
        </pc:grpChg>
        <pc:grpChg chg="mod">
          <ac:chgData name="Afrin Azath" userId="f80e603bb8e34c42" providerId="LiveId" clId="{B45D2B8D-6A88-4845-83C3-988F5E649569}" dt="2023-06-09T13:17:44.740" v="1892" actId="1076"/>
          <ac:grpSpMkLst>
            <pc:docMk/>
            <pc:sldMk cId="4118583135" sldId="263"/>
            <ac:grpSpMk id="109" creationId="{C37C5EDB-D309-5645-8940-0A614C2B9DC7}"/>
          </ac:grpSpMkLst>
        </pc:grpChg>
        <pc:grpChg chg="mod">
          <ac:chgData name="Afrin Azath" userId="f80e603bb8e34c42" providerId="LiveId" clId="{B45D2B8D-6A88-4845-83C3-988F5E649569}" dt="2023-06-09T13:17:44.740" v="1892" actId="1076"/>
          <ac:grpSpMkLst>
            <pc:docMk/>
            <pc:sldMk cId="4118583135" sldId="263"/>
            <ac:grpSpMk id="110" creationId="{F77D081A-869E-5D42-8C3A-417EE3BB5D50}"/>
          </ac:grpSpMkLst>
        </pc:grpChg>
        <pc:grpChg chg="mod">
          <ac:chgData name="Afrin Azath" userId="f80e603bb8e34c42" providerId="LiveId" clId="{B45D2B8D-6A88-4845-83C3-988F5E649569}" dt="2023-06-09T13:17:44.740" v="1892" actId="1076"/>
          <ac:grpSpMkLst>
            <pc:docMk/>
            <pc:sldMk cId="4118583135" sldId="263"/>
            <ac:grpSpMk id="111" creationId="{44A0848B-8729-604B-85F1-D51AD470C9D4}"/>
          </ac:grpSpMkLst>
        </pc:grpChg>
        <pc:grpChg chg="mod">
          <ac:chgData name="Afrin Azath" userId="f80e603bb8e34c42" providerId="LiveId" clId="{B45D2B8D-6A88-4845-83C3-988F5E649569}" dt="2023-06-09T13:17:44.740" v="1892" actId="1076"/>
          <ac:grpSpMkLst>
            <pc:docMk/>
            <pc:sldMk cId="4118583135" sldId="263"/>
            <ac:grpSpMk id="112" creationId="{B05FE82A-BD58-4C47-9F4E-891E22ECB062}"/>
          </ac:grpSpMkLst>
        </pc:grpChg>
      </pc:sldChg>
      <pc:sldChg chg="addSp delSp modSp mod ord">
        <pc:chgData name="Afrin Azath" userId="f80e603bb8e34c42" providerId="LiveId" clId="{B45D2B8D-6A88-4845-83C3-988F5E649569}" dt="2023-06-10T13:58:19.857" v="3113" actId="20577"/>
        <pc:sldMkLst>
          <pc:docMk/>
          <pc:sldMk cId="2321725088" sldId="264"/>
        </pc:sldMkLst>
        <pc:spChg chg="mod">
          <ac:chgData name="Afrin Azath" userId="f80e603bb8e34c42" providerId="LiveId" clId="{B45D2B8D-6A88-4845-83C3-988F5E649569}" dt="2023-06-09T12:57:52.315" v="1409" actId="14100"/>
          <ac:spMkLst>
            <pc:docMk/>
            <pc:sldMk cId="2321725088" sldId="264"/>
            <ac:spMk id="2" creationId="{D59175AD-F464-5142-B543-B7C2D714BC6F}"/>
          </ac:spMkLst>
        </pc:spChg>
        <pc:spChg chg="mod">
          <ac:chgData name="Afrin Azath" userId="f80e603bb8e34c42" providerId="LiveId" clId="{B45D2B8D-6A88-4845-83C3-988F5E649569}" dt="2023-06-10T13:56:16.255" v="3101" actId="2085"/>
          <ac:spMkLst>
            <pc:docMk/>
            <pc:sldMk cId="2321725088" sldId="264"/>
            <ac:spMk id="20" creationId="{AC8C2F83-9228-804F-A5AB-F50EAFE5327D}"/>
          </ac:spMkLst>
        </pc:spChg>
        <pc:spChg chg="del mod">
          <ac:chgData name="Afrin Azath" userId="f80e603bb8e34c42" providerId="LiveId" clId="{B45D2B8D-6A88-4845-83C3-988F5E649569}" dt="2023-06-09T12:57:41.993" v="1407" actId="478"/>
          <ac:spMkLst>
            <pc:docMk/>
            <pc:sldMk cId="2321725088" sldId="264"/>
            <ac:spMk id="21" creationId="{22D80361-E3EB-9841-A1DA-B4ED29B585B2}"/>
          </ac:spMkLst>
        </pc:spChg>
        <pc:spChg chg="mod">
          <ac:chgData name="Afrin Azath" userId="f80e603bb8e34c42" providerId="LiveId" clId="{B45D2B8D-6A88-4845-83C3-988F5E649569}" dt="2023-06-09T12:57:46.910" v="1408" actId="14100"/>
          <ac:spMkLst>
            <pc:docMk/>
            <pc:sldMk cId="2321725088" sldId="264"/>
            <ac:spMk id="23" creationId="{226FB5A0-8775-6E40-B166-8D985BB6D4AE}"/>
          </ac:spMkLst>
        </pc:spChg>
        <pc:spChg chg="mod">
          <ac:chgData name="Afrin Azath" userId="f80e603bb8e34c42" providerId="LiveId" clId="{B45D2B8D-6A88-4845-83C3-988F5E649569}" dt="2023-06-09T12:57:46.910" v="1408" actId="14100"/>
          <ac:spMkLst>
            <pc:docMk/>
            <pc:sldMk cId="2321725088" sldId="264"/>
            <ac:spMk id="24" creationId="{DE6B7FE4-8E8E-9B4D-95D7-1B94C444E79A}"/>
          </ac:spMkLst>
        </pc:spChg>
        <pc:spChg chg="mod">
          <ac:chgData name="Afrin Azath" userId="f80e603bb8e34c42" providerId="LiveId" clId="{B45D2B8D-6A88-4845-83C3-988F5E649569}" dt="2023-06-09T12:57:46.910" v="1408" actId="14100"/>
          <ac:spMkLst>
            <pc:docMk/>
            <pc:sldMk cId="2321725088" sldId="264"/>
            <ac:spMk id="25" creationId="{472F0BE2-6200-DC4B-ABC4-0B3579AEFED3}"/>
          </ac:spMkLst>
        </pc:spChg>
        <pc:spChg chg="mod">
          <ac:chgData name="Afrin Azath" userId="f80e603bb8e34c42" providerId="LiveId" clId="{B45D2B8D-6A88-4845-83C3-988F5E649569}" dt="2023-06-09T12:59:48.722" v="1501" actId="20577"/>
          <ac:spMkLst>
            <pc:docMk/>
            <pc:sldMk cId="2321725088" sldId="264"/>
            <ac:spMk id="51" creationId="{AE49F1D8-2E25-4C7B-B83E-04A4CB4510E8}"/>
          </ac:spMkLst>
        </pc:spChg>
        <pc:spChg chg="mod">
          <ac:chgData name="Afrin Azath" userId="f80e603bb8e34c42" providerId="LiveId" clId="{B45D2B8D-6A88-4845-83C3-988F5E649569}" dt="2023-06-09T12:58:28.189" v="1441" actId="20577"/>
          <ac:spMkLst>
            <pc:docMk/>
            <pc:sldMk cId="2321725088" sldId="264"/>
            <ac:spMk id="52" creationId="{A839AEF0-392F-4D88-80F1-E811EFCCB616}"/>
          </ac:spMkLst>
        </pc:spChg>
        <pc:spChg chg="mod">
          <ac:chgData name="Afrin Azath" userId="f80e603bb8e34c42" providerId="LiveId" clId="{B45D2B8D-6A88-4845-83C3-988F5E649569}" dt="2023-06-09T12:58:43.006" v="1465" actId="20577"/>
          <ac:spMkLst>
            <pc:docMk/>
            <pc:sldMk cId="2321725088" sldId="264"/>
            <ac:spMk id="53" creationId="{D50616F5-F345-45C8-98E4-629F8067EB61}"/>
          </ac:spMkLst>
        </pc:spChg>
        <pc:spChg chg="mod">
          <ac:chgData name="Afrin Azath" userId="f80e603bb8e34c42" providerId="LiveId" clId="{B45D2B8D-6A88-4845-83C3-988F5E649569}" dt="2023-06-10T13:58:19.857" v="3113" actId="20577"/>
          <ac:spMkLst>
            <pc:docMk/>
            <pc:sldMk cId="2321725088" sldId="264"/>
            <ac:spMk id="54" creationId="{6E11418F-C25A-49A1-A944-451CAFEA68DA}"/>
          </ac:spMkLst>
        </pc:spChg>
        <pc:grpChg chg="add del mod">
          <ac:chgData name="Afrin Azath" userId="f80e603bb8e34c42" providerId="LiveId" clId="{B45D2B8D-6A88-4845-83C3-988F5E649569}" dt="2023-06-10T13:54:58.833" v="3067" actId="478"/>
          <ac:grpSpMkLst>
            <pc:docMk/>
            <pc:sldMk cId="2321725088" sldId="264"/>
            <ac:grpSpMk id="22" creationId="{0CAB423E-F865-464E-8908-1881F4BE8275}"/>
          </ac:grpSpMkLst>
        </pc:grpChg>
        <pc:picChg chg="add mod ord">
          <ac:chgData name="Afrin Azath" userId="f80e603bb8e34c42" providerId="LiveId" clId="{B45D2B8D-6A88-4845-83C3-988F5E649569}" dt="2023-06-10T13:58:00.242" v="3109" actId="167"/>
          <ac:picMkLst>
            <pc:docMk/>
            <pc:sldMk cId="2321725088" sldId="264"/>
            <ac:picMk id="4" creationId="{36CBA926-7662-01C5-BE93-8CBD4DD03E55}"/>
          </ac:picMkLst>
        </pc:picChg>
      </pc:sldChg>
      <pc:sldChg chg="delSp modSp mod">
        <pc:chgData name="Afrin Azath" userId="f80e603bb8e34c42" providerId="LiveId" clId="{B45D2B8D-6A88-4845-83C3-988F5E649569}" dt="2023-06-10T14:06:04.567" v="3271" actId="1076"/>
        <pc:sldMkLst>
          <pc:docMk/>
          <pc:sldMk cId="17840404" sldId="265"/>
        </pc:sldMkLst>
        <pc:spChg chg="del mod">
          <ac:chgData name="Afrin Azath" userId="f80e603bb8e34c42" providerId="LiveId" clId="{B45D2B8D-6A88-4845-83C3-988F5E649569}" dt="2023-06-09T09:11:33.291" v="1165" actId="478"/>
          <ac:spMkLst>
            <pc:docMk/>
            <pc:sldMk cId="17840404" sldId="265"/>
            <ac:spMk id="6" creationId="{FBF05139-FD46-474D-8220-C6D8726F6A44}"/>
          </ac:spMkLst>
        </pc:spChg>
        <pc:spChg chg="del mod">
          <ac:chgData name="Afrin Azath" userId="f80e603bb8e34c42" providerId="LiveId" clId="{B45D2B8D-6A88-4845-83C3-988F5E649569}" dt="2023-06-09T09:11:22.926" v="1162" actId="478"/>
          <ac:spMkLst>
            <pc:docMk/>
            <pc:sldMk cId="17840404" sldId="265"/>
            <ac:spMk id="7" creationId="{B79CFA68-F8E2-B549-BBB8-5CBBAA99E2C6}"/>
          </ac:spMkLst>
        </pc:spChg>
        <pc:spChg chg="mod">
          <ac:chgData name="Afrin Azath" userId="f80e603bb8e34c42" providerId="LiveId" clId="{B45D2B8D-6A88-4845-83C3-988F5E649569}" dt="2023-06-10T14:06:04.567" v="3271" actId="1076"/>
          <ac:spMkLst>
            <pc:docMk/>
            <pc:sldMk cId="17840404" sldId="265"/>
            <ac:spMk id="8" creationId="{B0D11329-5128-5F4B-B47A-3FD31C9B55F0}"/>
          </ac:spMkLst>
        </pc:spChg>
        <pc:spChg chg="mod">
          <ac:chgData name="Afrin Azath" userId="f80e603bb8e34c42" providerId="LiveId" clId="{B45D2B8D-6A88-4845-83C3-988F5E649569}" dt="2023-06-09T09:12:02.402" v="1172" actId="1076"/>
          <ac:spMkLst>
            <pc:docMk/>
            <pc:sldMk cId="17840404" sldId="265"/>
            <ac:spMk id="9" creationId="{153291BC-C528-6E4D-812D-80EAA3FC6A45}"/>
          </ac:spMkLst>
        </pc:spChg>
        <pc:spChg chg="del">
          <ac:chgData name="Afrin Azath" userId="f80e603bb8e34c42" providerId="LiveId" clId="{B45D2B8D-6A88-4845-83C3-988F5E649569}" dt="2023-06-09T09:11:27.437" v="1163" actId="478"/>
          <ac:spMkLst>
            <pc:docMk/>
            <pc:sldMk cId="17840404" sldId="265"/>
            <ac:spMk id="13" creationId="{582D3D80-E0CD-A14D-B051-AFFD7A6D03B0}"/>
          </ac:spMkLst>
        </pc:spChg>
      </pc:sldChg>
      <pc:sldChg chg="del">
        <pc:chgData name="Afrin Azath" userId="f80e603bb8e34c42" providerId="LiveId" clId="{B45D2B8D-6A88-4845-83C3-988F5E649569}" dt="2023-06-08T16:09:47.537" v="578" actId="47"/>
        <pc:sldMkLst>
          <pc:docMk/>
          <pc:sldMk cId="2932092484" sldId="273"/>
        </pc:sldMkLst>
      </pc:sldChg>
      <pc:sldChg chg="del">
        <pc:chgData name="Afrin Azath" userId="f80e603bb8e34c42" providerId="LiveId" clId="{B45D2B8D-6A88-4845-83C3-988F5E649569}" dt="2023-06-08T16:09:46.113" v="577" actId="47"/>
        <pc:sldMkLst>
          <pc:docMk/>
          <pc:sldMk cId="377815173" sldId="274"/>
        </pc:sldMkLst>
      </pc:sldChg>
      <pc:sldChg chg="del">
        <pc:chgData name="Afrin Azath" userId="f80e603bb8e34c42" providerId="LiveId" clId="{B45D2B8D-6A88-4845-83C3-988F5E649569}" dt="2023-06-08T16:09:53.333" v="579" actId="47"/>
        <pc:sldMkLst>
          <pc:docMk/>
          <pc:sldMk cId="2855933007" sldId="302"/>
        </pc:sldMkLst>
      </pc:sldChg>
      <pc:sldChg chg="modSp del mod ord">
        <pc:chgData name="Afrin Azath" userId="f80e603bb8e34c42" providerId="LiveId" clId="{B45D2B8D-6A88-4845-83C3-988F5E649569}" dt="2023-06-09T14:07:51.579" v="2369" actId="113"/>
        <pc:sldMkLst>
          <pc:docMk/>
          <pc:sldMk cId="1956739095" sldId="310"/>
        </pc:sldMkLst>
        <pc:spChg chg="mod">
          <ac:chgData name="Afrin Azath" userId="f80e603bb8e34c42" providerId="LiveId" clId="{B45D2B8D-6A88-4845-83C3-988F5E649569}" dt="2023-06-09T14:07:51.579" v="2369" actId="113"/>
          <ac:spMkLst>
            <pc:docMk/>
            <pc:sldMk cId="1956739095" sldId="310"/>
            <ac:spMk id="6" creationId="{6F27B4D3-55F6-4A4F-85F0-819F8C34E7B5}"/>
          </ac:spMkLst>
        </pc:spChg>
      </pc:sldChg>
      <pc:sldChg chg="addSp delSp modSp add mod">
        <pc:chgData name="Afrin Azath" userId="f80e603bb8e34c42" providerId="LiveId" clId="{B45D2B8D-6A88-4845-83C3-988F5E649569}" dt="2023-06-10T21:04:53.445" v="4036" actId="6549"/>
        <pc:sldMkLst>
          <pc:docMk/>
          <pc:sldMk cId="1695100583" sldId="311"/>
        </pc:sldMkLst>
        <pc:spChg chg="mod">
          <ac:chgData name="Afrin Azath" userId="f80e603bb8e34c42" providerId="LiveId" clId="{B45D2B8D-6A88-4845-83C3-988F5E649569}" dt="2023-06-10T14:04:29.318" v="3267" actId="1076"/>
          <ac:spMkLst>
            <pc:docMk/>
            <pc:sldMk cId="1695100583" sldId="311"/>
            <ac:spMk id="19" creationId="{DEA02C75-7E82-5148-A7D4-EF5BF80D21B2}"/>
          </ac:spMkLst>
        </pc:spChg>
        <pc:spChg chg="mod">
          <ac:chgData name="Afrin Azath" userId="f80e603bb8e34c42" providerId="LiveId" clId="{B45D2B8D-6A88-4845-83C3-988F5E649569}" dt="2023-06-10T21:04:53.445" v="4036" actId="6549"/>
          <ac:spMkLst>
            <pc:docMk/>
            <pc:sldMk cId="1695100583" sldId="311"/>
            <ac:spMk id="21" creationId="{DCCBA348-AA22-D74E-97D5-23B1BCCC5CE8}"/>
          </ac:spMkLst>
        </pc:spChg>
        <pc:graphicFrameChg chg="add mod">
          <ac:chgData name="Afrin Azath" userId="f80e603bb8e34c42" providerId="LiveId" clId="{B45D2B8D-6A88-4845-83C3-988F5E649569}" dt="2023-06-08T16:34:48.377" v="981"/>
          <ac:graphicFrameMkLst>
            <pc:docMk/>
            <pc:sldMk cId="1695100583" sldId="311"/>
            <ac:graphicFrameMk id="3" creationId="{00000000-0008-0000-0800-00000D000000}"/>
          </ac:graphicFrameMkLst>
        </pc:graphicFrameChg>
        <pc:graphicFrameChg chg="add mod">
          <ac:chgData name="Afrin Azath" userId="f80e603bb8e34c42" providerId="LiveId" clId="{B45D2B8D-6A88-4845-83C3-988F5E649569}" dt="2023-06-08T17:11:54.656" v="1018"/>
          <ac:graphicFrameMkLst>
            <pc:docMk/>
            <pc:sldMk cId="1695100583" sldId="311"/>
            <ac:graphicFrameMk id="4" creationId="{00000000-0008-0000-0800-00000D000000}"/>
          </ac:graphicFrameMkLst>
        </pc:graphicFrameChg>
        <pc:graphicFrameChg chg="del">
          <ac:chgData name="Afrin Azath" userId="f80e603bb8e34c42" providerId="LiveId" clId="{B45D2B8D-6A88-4845-83C3-988F5E649569}" dt="2023-06-08T16:29:14.814" v="805" actId="478"/>
          <ac:graphicFrameMkLst>
            <pc:docMk/>
            <pc:sldMk cId="1695100583" sldId="311"/>
            <ac:graphicFrameMk id="6" creationId="{00000000-0008-0000-0800-000011000000}"/>
          </ac:graphicFrameMkLst>
        </pc:graphicFrameChg>
        <pc:graphicFrameChg chg="add mod">
          <ac:chgData name="Afrin Azath" userId="f80e603bb8e34c42" providerId="LiveId" clId="{B45D2B8D-6A88-4845-83C3-988F5E649569}" dt="2023-06-08T17:09:32.150" v="1007"/>
          <ac:graphicFrameMkLst>
            <pc:docMk/>
            <pc:sldMk cId="1695100583" sldId="311"/>
            <ac:graphicFrameMk id="8" creationId="{18118E0D-54B3-3892-5CC0-274B25AC8D3F}"/>
          </ac:graphicFrameMkLst>
        </pc:graphicFrameChg>
        <pc:picChg chg="add del mod">
          <ac:chgData name="Afrin Azath" userId="f80e603bb8e34c42" providerId="LiveId" clId="{B45D2B8D-6A88-4845-83C3-988F5E649569}" dt="2023-06-08T16:34:28.017" v="977" actId="478"/>
          <ac:picMkLst>
            <pc:docMk/>
            <pc:sldMk cId="1695100583" sldId="311"/>
            <ac:picMk id="2" creationId="{E59CBDB4-7ECE-6942-9CDC-D1C9F44376DA}"/>
          </ac:picMkLst>
        </pc:picChg>
        <pc:picChg chg="add del mod">
          <ac:chgData name="Afrin Azath" userId="f80e603bb8e34c42" providerId="LiveId" clId="{B45D2B8D-6A88-4845-83C3-988F5E649569}" dt="2023-06-08T17:03:27.620" v="988" actId="478"/>
          <ac:picMkLst>
            <pc:docMk/>
            <pc:sldMk cId="1695100583" sldId="311"/>
            <ac:picMk id="7" creationId="{C515D263-683A-1C83-89B8-09EA4C6B268E}"/>
          </ac:picMkLst>
        </pc:picChg>
      </pc:sldChg>
      <pc:sldChg chg="modSp mod">
        <pc:chgData name="Afrin Azath" userId="f80e603bb8e34c42" providerId="LiveId" clId="{B45D2B8D-6A88-4845-83C3-988F5E649569}" dt="2023-06-09T14:08:12.030" v="2372" actId="1076"/>
        <pc:sldMkLst>
          <pc:docMk/>
          <pc:sldMk cId="2242697070" sldId="312"/>
        </pc:sldMkLst>
        <pc:spChg chg="mod">
          <ac:chgData name="Afrin Azath" userId="f80e603bb8e34c42" providerId="LiveId" clId="{B45D2B8D-6A88-4845-83C3-988F5E649569}" dt="2023-06-09T14:08:12.030" v="2372" actId="1076"/>
          <ac:spMkLst>
            <pc:docMk/>
            <pc:sldMk cId="2242697070" sldId="312"/>
            <ac:spMk id="6" creationId="{6F27B4D3-55F6-4A4F-85F0-819F8C34E7B5}"/>
          </ac:spMkLst>
        </pc:spChg>
        <pc:spChg chg="mod">
          <ac:chgData name="Afrin Azath" userId="f80e603bb8e34c42" providerId="LiveId" clId="{B45D2B8D-6A88-4845-83C3-988F5E649569}" dt="2023-06-09T14:08:05.363" v="2371" actId="20577"/>
          <ac:spMkLst>
            <pc:docMk/>
            <pc:sldMk cId="2242697070" sldId="312"/>
            <ac:spMk id="7" creationId="{5FFA6C0B-1F3C-99E8-4ECF-18944F79E9A7}"/>
          </ac:spMkLst>
        </pc:spChg>
      </pc:sldChg>
      <pc:sldChg chg="addSp delSp modSp mod">
        <pc:chgData name="Afrin Azath" userId="f80e603bb8e34c42" providerId="LiveId" clId="{B45D2B8D-6A88-4845-83C3-988F5E649569}" dt="2023-06-10T17:30:50.538" v="3808" actId="255"/>
        <pc:sldMkLst>
          <pc:docMk/>
          <pc:sldMk cId="1906714528" sldId="314"/>
        </pc:sldMkLst>
        <pc:spChg chg="mod">
          <ac:chgData name="Afrin Azath" userId="f80e603bb8e34c42" providerId="LiveId" clId="{B45D2B8D-6A88-4845-83C3-988F5E649569}" dt="2023-06-10T17:30:35.206" v="3805" actId="1076"/>
          <ac:spMkLst>
            <pc:docMk/>
            <pc:sldMk cId="1906714528" sldId="314"/>
            <ac:spMk id="19" creationId="{DEA02C75-7E82-5148-A7D4-EF5BF80D21B2}"/>
          </ac:spMkLst>
        </pc:spChg>
        <pc:spChg chg="mod">
          <ac:chgData name="Afrin Azath" userId="f80e603bb8e34c42" providerId="LiveId" clId="{B45D2B8D-6A88-4845-83C3-988F5E649569}" dt="2023-06-10T17:30:50.538" v="3808" actId="255"/>
          <ac:spMkLst>
            <pc:docMk/>
            <pc:sldMk cId="1906714528" sldId="314"/>
            <ac:spMk id="21" creationId="{DCCBA348-AA22-D74E-97D5-23B1BCCC5CE8}"/>
          </ac:spMkLst>
        </pc:spChg>
        <pc:graphicFrameChg chg="add del mod">
          <ac:chgData name="Afrin Azath" userId="f80e603bb8e34c42" providerId="LiveId" clId="{B45D2B8D-6A88-4845-83C3-988F5E649569}" dt="2023-06-10T12:57:39.874" v="2627" actId="478"/>
          <ac:graphicFrameMkLst>
            <pc:docMk/>
            <pc:sldMk cId="1906714528" sldId="314"/>
            <ac:graphicFrameMk id="2" creationId="{00000000-0008-0000-0800-000005000000}"/>
          </ac:graphicFrameMkLst>
        </pc:graphicFrameChg>
        <pc:graphicFrameChg chg="add del mod">
          <ac:chgData name="Afrin Azath" userId="f80e603bb8e34c42" providerId="LiveId" clId="{B45D2B8D-6A88-4845-83C3-988F5E649569}" dt="2023-06-10T17:15:58.371" v="3597" actId="478"/>
          <ac:graphicFrameMkLst>
            <pc:docMk/>
            <pc:sldMk cId="1906714528" sldId="314"/>
            <ac:graphicFrameMk id="3" creationId="{00000000-0008-0000-0800-000005000000}"/>
          </ac:graphicFrameMkLst>
        </pc:graphicFrameChg>
        <pc:graphicFrameChg chg="del">
          <ac:chgData name="Afrin Azath" userId="f80e603bb8e34c42" providerId="LiveId" clId="{B45D2B8D-6A88-4845-83C3-988F5E649569}" dt="2023-06-10T12:54:51.477" v="2622" actId="478"/>
          <ac:graphicFrameMkLst>
            <pc:docMk/>
            <pc:sldMk cId="1906714528" sldId="314"/>
            <ac:graphicFrameMk id="4" creationId="{00000000-0008-0000-0800-00000D000000}"/>
          </ac:graphicFrameMkLst>
        </pc:graphicFrameChg>
        <pc:graphicFrameChg chg="add mod">
          <ac:chgData name="Afrin Azath" userId="f80e603bb8e34c42" providerId="LiveId" clId="{B45D2B8D-6A88-4845-83C3-988F5E649569}" dt="2023-06-10T17:16:17.590" v="3602"/>
          <ac:graphicFrameMkLst>
            <pc:docMk/>
            <pc:sldMk cId="1906714528" sldId="314"/>
            <ac:graphicFrameMk id="5" creationId="{00000000-0008-0000-0800-000005000000}"/>
          </ac:graphicFrameMkLst>
        </pc:graphicFrameChg>
        <pc:graphicFrameChg chg="del">
          <ac:chgData name="Afrin Azath" userId="f80e603bb8e34c42" providerId="LiveId" clId="{B45D2B8D-6A88-4845-83C3-988F5E649569}" dt="2023-06-10T11:01:21.729" v="2471" actId="478"/>
          <ac:graphicFrameMkLst>
            <pc:docMk/>
            <pc:sldMk cId="1906714528" sldId="314"/>
            <ac:graphicFrameMk id="8" creationId="{18118E0D-54B3-3892-5CC0-274B25AC8D3F}"/>
          </ac:graphicFrameMkLst>
        </pc:graphicFrameChg>
      </pc:sldChg>
      <pc:sldChg chg="modSp mod modAnim">
        <pc:chgData name="Afrin Azath" userId="f80e603bb8e34c42" providerId="LiveId" clId="{B45D2B8D-6A88-4845-83C3-988F5E649569}" dt="2023-06-10T21:12:11.449" v="4045"/>
        <pc:sldMkLst>
          <pc:docMk/>
          <pc:sldMk cId="2767767491" sldId="315"/>
        </pc:sldMkLst>
        <pc:spChg chg="mod">
          <ac:chgData name="Afrin Azath" userId="f80e603bb8e34c42" providerId="LiveId" clId="{B45D2B8D-6A88-4845-83C3-988F5E649569}" dt="2023-06-10T20:19:01.826" v="3971" actId="207"/>
          <ac:spMkLst>
            <pc:docMk/>
            <pc:sldMk cId="2767767491" sldId="315"/>
            <ac:spMk id="6" creationId="{FBF05139-FD46-474D-8220-C6D8726F6A44}"/>
          </ac:spMkLst>
        </pc:spChg>
        <pc:spChg chg="mod">
          <ac:chgData name="Afrin Azath" userId="f80e603bb8e34c42" providerId="LiveId" clId="{B45D2B8D-6A88-4845-83C3-988F5E649569}" dt="2023-06-10T13:27:43.102" v="2789" actId="1076"/>
          <ac:spMkLst>
            <pc:docMk/>
            <pc:sldMk cId="2767767491" sldId="315"/>
            <ac:spMk id="12" creationId="{58E08E07-64C6-C04C-9D69-69523B1D1E02}"/>
          </ac:spMkLst>
        </pc:spChg>
        <pc:picChg chg="mod">
          <ac:chgData name="Afrin Azath" userId="f80e603bb8e34c42" providerId="LiveId" clId="{B45D2B8D-6A88-4845-83C3-988F5E649569}" dt="2023-06-10T13:35:03.477" v="2852" actId="207"/>
          <ac:picMkLst>
            <pc:docMk/>
            <pc:sldMk cId="2767767491" sldId="315"/>
            <ac:picMk id="10" creationId="{7A8BD3D0-400E-0F4D-94BC-1FEA2833DCFB}"/>
          </ac:picMkLst>
        </pc:picChg>
      </pc:sldChg>
      <pc:sldChg chg="addSp delSp modSp mod">
        <pc:chgData name="Afrin Azath" userId="f80e603bb8e34c42" providerId="LiveId" clId="{B45D2B8D-6A88-4845-83C3-988F5E649569}" dt="2023-06-10T17:33:33.066" v="3834" actId="14100"/>
        <pc:sldMkLst>
          <pc:docMk/>
          <pc:sldMk cId="4119780014" sldId="316"/>
        </pc:sldMkLst>
        <pc:spChg chg="mod">
          <ac:chgData name="Afrin Azath" userId="f80e603bb8e34c42" providerId="LiveId" clId="{B45D2B8D-6A88-4845-83C3-988F5E649569}" dt="2023-06-10T17:33:23.417" v="3831" actId="1076"/>
          <ac:spMkLst>
            <pc:docMk/>
            <pc:sldMk cId="4119780014" sldId="316"/>
            <ac:spMk id="19" creationId="{DEA02C75-7E82-5148-A7D4-EF5BF80D21B2}"/>
          </ac:spMkLst>
        </pc:spChg>
        <pc:spChg chg="mod">
          <ac:chgData name="Afrin Azath" userId="f80e603bb8e34c42" providerId="LiveId" clId="{B45D2B8D-6A88-4845-83C3-988F5E649569}" dt="2023-06-10T17:33:33.066" v="3834" actId="14100"/>
          <ac:spMkLst>
            <pc:docMk/>
            <pc:sldMk cId="4119780014" sldId="316"/>
            <ac:spMk id="21" creationId="{DCCBA348-AA22-D74E-97D5-23B1BCCC5CE8}"/>
          </ac:spMkLst>
        </pc:spChg>
        <pc:graphicFrameChg chg="add mod">
          <ac:chgData name="Afrin Azath" userId="f80e603bb8e34c42" providerId="LiveId" clId="{B45D2B8D-6A88-4845-83C3-988F5E649569}" dt="2023-06-10T17:21:20.814" v="3684" actId="113"/>
          <ac:graphicFrameMkLst>
            <pc:docMk/>
            <pc:sldMk cId="4119780014" sldId="316"/>
            <ac:graphicFrameMk id="2" creationId="{00000000-0008-0000-0800-000006000000}"/>
          </ac:graphicFrameMkLst>
        </pc:graphicFrameChg>
        <pc:graphicFrameChg chg="del">
          <ac:chgData name="Afrin Azath" userId="f80e603bb8e34c42" providerId="LiveId" clId="{B45D2B8D-6A88-4845-83C3-988F5E649569}" dt="2023-06-10T14:18:33.722" v="3319" actId="478"/>
          <ac:graphicFrameMkLst>
            <pc:docMk/>
            <pc:sldMk cId="4119780014" sldId="316"/>
            <ac:graphicFrameMk id="3" creationId="{00000000-0008-0000-0800-000005000000}"/>
          </ac:graphicFrameMkLst>
        </pc:graphicFrameChg>
      </pc:sldChg>
      <pc:sldChg chg="addSp delSp modSp mod">
        <pc:chgData name="Afrin Azath" userId="f80e603bb8e34c42" providerId="LiveId" clId="{B45D2B8D-6A88-4845-83C3-988F5E649569}" dt="2023-06-10T17:29:59.083" v="3802" actId="255"/>
        <pc:sldMkLst>
          <pc:docMk/>
          <pc:sldMk cId="278840246" sldId="317"/>
        </pc:sldMkLst>
        <pc:spChg chg="add del mod">
          <ac:chgData name="Afrin Azath" userId="f80e603bb8e34c42" providerId="LiveId" clId="{B45D2B8D-6A88-4845-83C3-988F5E649569}" dt="2023-06-10T17:03:30.982" v="3504" actId="20577"/>
          <ac:spMkLst>
            <pc:docMk/>
            <pc:sldMk cId="278840246" sldId="317"/>
            <ac:spMk id="19" creationId="{DEA02C75-7E82-5148-A7D4-EF5BF80D21B2}"/>
          </ac:spMkLst>
        </pc:spChg>
        <pc:spChg chg="mod">
          <ac:chgData name="Afrin Azath" userId="f80e603bb8e34c42" providerId="LiveId" clId="{B45D2B8D-6A88-4845-83C3-988F5E649569}" dt="2023-06-10T17:29:59.083" v="3802" actId="255"/>
          <ac:spMkLst>
            <pc:docMk/>
            <pc:sldMk cId="278840246" sldId="317"/>
            <ac:spMk id="21" creationId="{DCCBA348-AA22-D74E-97D5-23B1BCCC5CE8}"/>
          </ac:spMkLst>
        </pc:spChg>
        <pc:graphicFrameChg chg="add mod">
          <ac:chgData name="Afrin Azath" userId="f80e603bb8e34c42" providerId="LiveId" clId="{B45D2B8D-6A88-4845-83C3-988F5E649569}" dt="2023-06-10T17:02:18.214" v="3489" actId="1076"/>
          <ac:graphicFrameMkLst>
            <pc:docMk/>
            <pc:sldMk cId="278840246" sldId="317"/>
            <ac:graphicFrameMk id="2" creationId="{00000000-0008-0000-0800-000012000000}"/>
          </ac:graphicFrameMkLst>
        </pc:graphicFrameChg>
        <pc:graphicFrameChg chg="del">
          <ac:chgData name="Afrin Azath" userId="f80e603bb8e34c42" providerId="LiveId" clId="{B45D2B8D-6A88-4845-83C3-988F5E649569}" dt="2023-06-10T16:32:25.625" v="3428" actId="478"/>
          <ac:graphicFrameMkLst>
            <pc:docMk/>
            <pc:sldMk cId="278840246" sldId="317"/>
            <ac:graphicFrameMk id="3" creationId="{00000000-0008-0000-0800-000005000000}"/>
          </ac:graphicFrameMkLst>
        </pc:graphicFrameChg>
      </pc:sldChg>
      <pc:sldChg chg="add del">
        <pc:chgData name="Afrin Azath" userId="f80e603bb8e34c42" providerId="LiveId" clId="{B45D2B8D-6A88-4845-83C3-988F5E649569}" dt="2023-06-10T16:31:51.928" v="3362"/>
        <pc:sldMkLst>
          <pc:docMk/>
          <pc:sldMk cId="2951215673" sldId="318"/>
        </pc:sldMkLst>
      </pc:sldChg>
      <pc:sldChg chg="addSp delSp modSp add mod">
        <pc:chgData name="Afrin Azath" userId="f80e603bb8e34c42" providerId="LiveId" clId="{B45D2B8D-6A88-4845-83C3-988F5E649569}" dt="2023-06-10T17:39:56.146" v="3857" actId="20577"/>
        <pc:sldMkLst>
          <pc:docMk/>
          <pc:sldMk cId="4289604300" sldId="318"/>
        </pc:sldMkLst>
        <pc:spChg chg="mod">
          <ac:chgData name="Afrin Azath" userId="f80e603bb8e34c42" providerId="LiveId" clId="{B45D2B8D-6A88-4845-83C3-988F5E649569}" dt="2023-06-10T17:34:52.343" v="3845" actId="1076"/>
          <ac:spMkLst>
            <pc:docMk/>
            <pc:sldMk cId="4289604300" sldId="318"/>
            <ac:spMk id="19" creationId="{DEA02C75-7E82-5148-A7D4-EF5BF80D21B2}"/>
          </ac:spMkLst>
        </pc:spChg>
        <pc:spChg chg="mod">
          <ac:chgData name="Afrin Azath" userId="f80e603bb8e34c42" providerId="LiveId" clId="{B45D2B8D-6A88-4845-83C3-988F5E649569}" dt="2023-06-10T17:39:56.146" v="3857" actId="20577"/>
          <ac:spMkLst>
            <pc:docMk/>
            <pc:sldMk cId="4289604300" sldId="318"/>
            <ac:spMk id="21" creationId="{DCCBA348-AA22-D74E-97D5-23B1BCCC5CE8}"/>
          </ac:spMkLst>
        </pc:spChg>
        <pc:graphicFrameChg chg="del">
          <ac:chgData name="Afrin Azath" userId="f80e603bb8e34c42" providerId="LiveId" clId="{B45D2B8D-6A88-4845-83C3-988F5E649569}" dt="2023-06-10T17:34:38.976" v="3841" actId="478"/>
          <ac:graphicFrameMkLst>
            <pc:docMk/>
            <pc:sldMk cId="4289604300" sldId="318"/>
            <ac:graphicFrameMk id="2" creationId="{00000000-0008-0000-0800-000012000000}"/>
          </ac:graphicFrameMkLst>
        </pc:graphicFrameChg>
        <pc:graphicFrameChg chg="add mod">
          <ac:chgData name="Afrin Azath" userId="f80e603bb8e34c42" providerId="LiveId" clId="{B45D2B8D-6A88-4845-83C3-988F5E649569}" dt="2023-06-10T17:38:15.444" v="3854" actId="14100"/>
          <ac:graphicFrameMkLst>
            <pc:docMk/>
            <pc:sldMk cId="4289604300" sldId="318"/>
            <ac:graphicFrameMk id="3" creationId="{00000000-0008-0000-0800-000010000000}"/>
          </ac:graphicFrameMkLst>
        </pc:graphicFrameChg>
      </pc:sldChg>
      <pc:sldChg chg="addSp delSp modSp add mod">
        <pc:chgData name="Afrin Azath" userId="f80e603bb8e34c42" providerId="LiveId" clId="{B45D2B8D-6A88-4845-83C3-988F5E649569}" dt="2023-06-10T17:49:38.301" v="3873" actId="14100"/>
        <pc:sldMkLst>
          <pc:docMk/>
          <pc:sldMk cId="3285656146" sldId="319"/>
        </pc:sldMkLst>
        <pc:spChg chg="mod">
          <ac:chgData name="Afrin Azath" userId="f80e603bb8e34c42" providerId="LiveId" clId="{B45D2B8D-6A88-4845-83C3-988F5E649569}" dt="2023-06-10T17:49:33.599" v="3871" actId="1076"/>
          <ac:spMkLst>
            <pc:docMk/>
            <pc:sldMk cId="3285656146" sldId="319"/>
            <ac:spMk id="19" creationId="{DEA02C75-7E82-5148-A7D4-EF5BF80D21B2}"/>
          </ac:spMkLst>
        </pc:spChg>
        <pc:spChg chg="mod">
          <ac:chgData name="Afrin Azath" userId="f80e603bb8e34c42" providerId="LiveId" clId="{B45D2B8D-6A88-4845-83C3-988F5E649569}" dt="2023-06-10T17:49:38.301" v="3873" actId="14100"/>
          <ac:spMkLst>
            <pc:docMk/>
            <pc:sldMk cId="3285656146" sldId="319"/>
            <ac:spMk id="21" creationId="{DCCBA348-AA22-D74E-97D5-23B1BCCC5CE8}"/>
          </ac:spMkLst>
        </pc:spChg>
        <pc:graphicFrameChg chg="del">
          <ac:chgData name="Afrin Azath" userId="f80e603bb8e34c42" providerId="LiveId" clId="{B45D2B8D-6A88-4845-83C3-988F5E649569}" dt="2023-06-10T17:34:25.272" v="3839" actId="478"/>
          <ac:graphicFrameMkLst>
            <pc:docMk/>
            <pc:sldMk cId="3285656146" sldId="319"/>
            <ac:graphicFrameMk id="2" creationId="{00000000-0008-0000-0800-000012000000}"/>
          </ac:graphicFrameMkLst>
        </pc:graphicFrameChg>
        <pc:graphicFrameChg chg="add mod">
          <ac:chgData name="Afrin Azath" userId="f80e603bb8e34c42" providerId="LiveId" clId="{B45D2B8D-6A88-4845-83C3-988F5E649569}" dt="2023-06-10T17:49:11.109" v="3870" actId="2085"/>
          <ac:graphicFrameMkLst>
            <pc:docMk/>
            <pc:sldMk cId="3285656146" sldId="319"/>
            <ac:graphicFrameMk id="3" creationId="{00000000-0008-0000-0800-000009000000}"/>
          </ac:graphicFrameMkLst>
        </pc:graphicFrameChg>
      </pc:sldChg>
      <pc:sldMasterChg chg="del delSldLayout">
        <pc:chgData name="Afrin Azath" userId="f80e603bb8e34c42" providerId="LiveId" clId="{B45D2B8D-6A88-4845-83C3-988F5E649569}" dt="2023-06-08T16:09:53.333" v="579" actId="47"/>
        <pc:sldMasterMkLst>
          <pc:docMk/>
          <pc:sldMasterMk cId="1025170200" sldId="2147483660"/>
        </pc:sldMasterMkLst>
        <pc:sldLayoutChg chg="del">
          <pc:chgData name="Afrin Azath" userId="f80e603bb8e34c42" providerId="LiveId" clId="{B45D2B8D-6A88-4845-83C3-988F5E649569}" dt="2023-06-08T16:09:53.333" v="579" actId="47"/>
          <pc:sldLayoutMkLst>
            <pc:docMk/>
            <pc:sldMasterMk cId="1025170200" sldId="2147483660"/>
            <pc:sldLayoutMk cId="252344463" sldId="2147483661"/>
          </pc:sldLayoutMkLst>
        </pc:sldLayoutChg>
        <pc:sldLayoutChg chg="del">
          <pc:chgData name="Afrin Azath" userId="f80e603bb8e34c42" providerId="LiveId" clId="{B45D2B8D-6A88-4845-83C3-988F5E649569}" dt="2023-06-08T16:09:53.333" v="579" actId="47"/>
          <pc:sldLayoutMkLst>
            <pc:docMk/>
            <pc:sldMasterMk cId="1025170200" sldId="2147483660"/>
            <pc:sldLayoutMk cId="3619169317" sldId="2147483662"/>
          </pc:sldLayoutMkLst>
        </pc:sldLayoutChg>
        <pc:sldLayoutChg chg="del">
          <pc:chgData name="Afrin Azath" userId="f80e603bb8e34c42" providerId="LiveId" clId="{B45D2B8D-6A88-4845-83C3-988F5E649569}" dt="2023-06-08T16:09:53.333" v="579" actId="47"/>
          <pc:sldLayoutMkLst>
            <pc:docMk/>
            <pc:sldMasterMk cId="1025170200" sldId="2147483660"/>
            <pc:sldLayoutMk cId="2716278245" sldId="2147483663"/>
          </pc:sldLayoutMkLst>
        </pc:sldLayoutChg>
        <pc:sldLayoutChg chg="del">
          <pc:chgData name="Afrin Azath" userId="f80e603bb8e34c42" providerId="LiveId" clId="{B45D2B8D-6A88-4845-83C3-988F5E649569}" dt="2023-06-08T16:09:53.333" v="579" actId="47"/>
          <pc:sldLayoutMkLst>
            <pc:docMk/>
            <pc:sldMasterMk cId="1025170200" sldId="2147483660"/>
            <pc:sldLayoutMk cId="3189651894" sldId="2147483664"/>
          </pc:sldLayoutMkLst>
        </pc:sldLayoutChg>
        <pc:sldLayoutChg chg="del">
          <pc:chgData name="Afrin Azath" userId="f80e603bb8e34c42" providerId="LiveId" clId="{B45D2B8D-6A88-4845-83C3-988F5E649569}" dt="2023-06-08T16:09:53.333" v="579" actId="47"/>
          <pc:sldLayoutMkLst>
            <pc:docMk/>
            <pc:sldMasterMk cId="1025170200" sldId="2147483660"/>
            <pc:sldLayoutMk cId="4043592552" sldId="2147483665"/>
          </pc:sldLayoutMkLst>
        </pc:sldLayoutChg>
        <pc:sldLayoutChg chg="del">
          <pc:chgData name="Afrin Azath" userId="f80e603bb8e34c42" providerId="LiveId" clId="{B45D2B8D-6A88-4845-83C3-988F5E649569}" dt="2023-06-08T16:09:53.333" v="579" actId="47"/>
          <pc:sldLayoutMkLst>
            <pc:docMk/>
            <pc:sldMasterMk cId="1025170200" sldId="2147483660"/>
            <pc:sldLayoutMk cId="3238691738" sldId="2147483666"/>
          </pc:sldLayoutMkLst>
        </pc:sldLayoutChg>
        <pc:sldLayoutChg chg="del">
          <pc:chgData name="Afrin Azath" userId="f80e603bb8e34c42" providerId="LiveId" clId="{B45D2B8D-6A88-4845-83C3-988F5E649569}" dt="2023-06-08T16:09:53.333" v="579" actId="47"/>
          <pc:sldLayoutMkLst>
            <pc:docMk/>
            <pc:sldMasterMk cId="1025170200" sldId="2147483660"/>
            <pc:sldLayoutMk cId="2479724347" sldId="2147483667"/>
          </pc:sldLayoutMkLst>
        </pc:sldLayoutChg>
        <pc:sldLayoutChg chg="del">
          <pc:chgData name="Afrin Azath" userId="f80e603bb8e34c42" providerId="LiveId" clId="{B45D2B8D-6A88-4845-83C3-988F5E649569}" dt="2023-06-08T16:09:53.333" v="579" actId="47"/>
          <pc:sldLayoutMkLst>
            <pc:docMk/>
            <pc:sldMasterMk cId="1025170200" sldId="2147483660"/>
            <pc:sldLayoutMk cId="1692645536" sldId="2147483668"/>
          </pc:sldLayoutMkLst>
        </pc:sldLayoutChg>
        <pc:sldLayoutChg chg="del">
          <pc:chgData name="Afrin Azath" userId="f80e603bb8e34c42" providerId="LiveId" clId="{B45D2B8D-6A88-4845-83C3-988F5E649569}" dt="2023-06-08T16:09:53.333" v="579" actId="47"/>
          <pc:sldLayoutMkLst>
            <pc:docMk/>
            <pc:sldMasterMk cId="1025170200" sldId="2147483660"/>
            <pc:sldLayoutMk cId="366892918" sldId="2147483669"/>
          </pc:sldLayoutMkLst>
        </pc:sldLayoutChg>
        <pc:sldLayoutChg chg="del">
          <pc:chgData name="Afrin Azath" userId="f80e603bb8e34c42" providerId="LiveId" clId="{B45D2B8D-6A88-4845-83C3-988F5E649569}" dt="2023-06-08T16:09:53.333" v="579" actId="47"/>
          <pc:sldLayoutMkLst>
            <pc:docMk/>
            <pc:sldMasterMk cId="1025170200" sldId="2147483660"/>
            <pc:sldLayoutMk cId="3097715644" sldId="2147483670"/>
          </pc:sldLayoutMkLst>
        </pc:sldLayoutChg>
        <pc:sldLayoutChg chg="del">
          <pc:chgData name="Afrin Azath" userId="f80e603bb8e34c42" providerId="LiveId" clId="{B45D2B8D-6A88-4845-83C3-988F5E649569}" dt="2023-06-08T16:09:53.333" v="579" actId="47"/>
          <pc:sldLayoutMkLst>
            <pc:docMk/>
            <pc:sldMasterMk cId="1025170200" sldId="2147483660"/>
            <pc:sldLayoutMk cId="1619004320" sldId="2147483671"/>
          </pc:sldLayoutMkLst>
        </pc:sldLayoutChg>
        <pc:sldLayoutChg chg="del">
          <pc:chgData name="Afrin Azath" userId="f80e603bb8e34c42" providerId="LiveId" clId="{B45D2B8D-6A88-4845-83C3-988F5E649569}" dt="2023-06-08T16:09:53.333" v="579" actId="47"/>
          <pc:sldLayoutMkLst>
            <pc:docMk/>
            <pc:sldMasterMk cId="1025170200" sldId="2147483660"/>
            <pc:sldLayoutMk cId="943492913" sldId="2147483672"/>
          </pc:sldLayoutMkLst>
        </pc:sldLayoutChg>
      </pc:sldMasterChg>
      <pc:sldMasterChg chg="del delSldLayout">
        <pc:chgData name="Afrin Azath" userId="f80e603bb8e34c42" providerId="LiveId" clId="{B45D2B8D-6A88-4845-83C3-988F5E649569}" dt="2023-06-09T09:11:16.676" v="1160" actId="47"/>
        <pc:sldMasterMkLst>
          <pc:docMk/>
          <pc:sldMasterMk cId="3780001524" sldId="2147483673"/>
        </pc:sldMasterMkLst>
        <pc:sldLayoutChg chg="del">
          <pc:chgData name="Afrin Azath" userId="f80e603bb8e34c42" providerId="LiveId" clId="{B45D2B8D-6A88-4845-83C3-988F5E649569}" dt="2023-06-09T09:11:16.676" v="1160" actId="47"/>
          <pc:sldLayoutMkLst>
            <pc:docMk/>
            <pc:sldMasterMk cId="3780001524" sldId="2147483673"/>
            <pc:sldLayoutMk cId="512371454" sldId="2147483674"/>
          </pc:sldLayoutMkLst>
        </pc:sldLayoutChg>
        <pc:sldLayoutChg chg="del">
          <pc:chgData name="Afrin Azath" userId="f80e603bb8e34c42" providerId="LiveId" clId="{B45D2B8D-6A88-4845-83C3-988F5E649569}" dt="2023-06-09T09:11:16.676" v="1160" actId="47"/>
          <pc:sldLayoutMkLst>
            <pc:docMk/>
            <pc:sldMasterMk cId="3780001524" sldId="2147483673"/>
            <pc:sldLayoutMk cId="3326630775" sldId="2147483675"/>
          </pc:sldLayoutMkLst>
        </pc:sldLayoutChg>
        <pc:sldLayoutChg chg="del">
          <pc:chgData name="Afrin Azath" userId="f80e603bb8e34c42" providerId="LiveId" clId="{B45D2B8D-6A88-4845-83C3-988F5E649569}" dt="2023-06-09T09:11:16.676" v="1160" actId="47"/>
          <pc:sldLayoutMkLst>
            <pc:docMk/>
            <pc:sldMasterMk cId="3780001524" sldId="2147483673"/>
            <pc:sldLayoutMk cId="4153201283" sldId="2147483676"/>
          </pc:sldLayoutMkLst>
        </pc:sldLayoutChg>
        <pc:sldLayoutChg chg="del">
          <pc:chgData name="Afrin Azath" userId="f80e603bb8e34c42" providerId="LiveId" clId="{B45D2B8D-6A88-4845-83C3-988F5E649569}" dt="2023-06-09T09:11:16.676" v="1160" actId="47"/>
          <pc:sldLayoutMkLst>
            <pc:docMk/>
            <pc:sldMasterMk cId="3780001524" sldId="2147483673"/>
            <pc:sldLayoutMk cId="980373311" sldId="2147483677"/>
          </pc:sldLayoutMkLst>
        </pc:sldLayoutChg>
        <pc:sldLayoutChg chg="del">
          <pc:chgData name="Afrin Azath" userId="f80e603bb8e34c42" providerId="LiveId" clId="{B45D2B8D-6A88-4845-83C3-988F5E649569}" dt="2023-06-09T09:11:16.676" v="1160" actId="47"/>
          <pc:sldLayoutMkLst>
            <pc:docMk/>
            <pc:sldMasterMk cId="3780001524" sldId="2147483673"/>
            <pc:sldLayoutMk cId="3480408394" sldId="2147483678"/>
          </pc:sldLayoutMkLst>
        </pc:sldLayoutChg>
        <pc:sldLayoutChg chg="del">
          <pc:chgData name="Afrin Azath" userId="f80e603bb8e34c42" providerId="LiveId" clId="{B45D2B8D-6A88-4845-83C3-988F5E649569}" dt="2023-06-09T09:11:16.676" v="1160" actId="47"/>
          <pc:sldLayoutMkLst>
            <pc:docMk/>
            <pc:sldMasterMk cId="3780001524" sldId="2147483673"/>
            <pc:sldLayoutMk cId="668326668" sldId="2147483679"/>
          </pc:sldLayoutMkLst>
        </pc:sldLayoutChg>
        <pc:sldLayoutChg chg="del">
          <pc:chgData name="Afrin Azath" userId="f80e603bb8e34c42" providerId="LiveId" clId="{B45D2B8D-6A88-4845-83C3-988F5E649569}" dt="2023-06-09T09:11:16.676" v="1160" actId="47"/>
          <pc:sldLayoutMkLst>
            <pc:docMk/>
            <pc:sldMasterMk cId="3780001524" sldId="2147483673"/>
            <pc:sldLayoutMk cId="2703278672" sldId="2147483680"/>
          </pc:sldLayoutMkLst>
        </pc:sldLayoutChg>
        <pc:sldLayoutChg chg="del">
          <pc:chgData name="Afrin Azath" userId="f80e603bb8e34c42" providerId="LiveId" clId="{B45D2B8D-6A88-4845-83C3-988F5E649569}" dt="2023-06-09T09:11:16.676" v="1160" actId="47"/>
          <pc:sldLayoutMkLst>
            <pc:docMk/>
            <pc:sldMasterMk cId="3780001524" sldId="2147483673"/>
            <pc:sldLayoutMk cId="251317555" sldId="2147483681"/>
          </pc:sldLayoutMkLst>
        </pc:sldLayoutChg>
        <pc:sldLayoutChg chg="del">
          <pc:chgData name="Afrin Azath" userId="f80e603bb8e34c42" providerId="LiveId" clId="{B45D2B8D-6A88-4845-83C3-988F5E649569}" dt="2023-06-09T09:11:16.676" v="1160" actId="47"/>
          <pc:sldLayoutMkLst>
            <pc:docMk/>
            <pc:sldMasterMk cId="3780001524" sldId="2147483673"/>
            <pc:sldLayoutMk cId="2240134744" sldId="2147483682"/>
          </pc:sldLayoutMkLst>
        </pc:sldLayoutChg>
        <pc:sldLayoutChg chg="del">
          <pc:chgData name="Afrin Azath" userId="f80e603bb8e34c42" providerId="LiveId" clId="{B45D2B8D-6A88-4845-83C3-988F5E649569}" dt="2023-06-09T09:11:16.676" v="1160" actId="47"/>
          <pc:sldLayoutMkLst>
            <pc:docMk/>
            <pc:sldMasterMk cId="3780001524" sldId="2147483673"/>
            <pc:sldLayoutMk cId="765747786" sldId="2147483683"/>
          </pc:sldLayoutMkLst>
        </pc:sldLayoutChg>
        <pc:sldLayoutChg chg="del">
          <pc:chgData name="Afrin Azath" userId="f80e603bb8e34c42" providerId="LiveId" clId="{B45D2B8D-6A88-4845-83C3-988F5E649569}" dt="2023-06-09T09:11:16.676" v="1160" actId="47"/>
          <pc:sldLayoutMkLst>
            <pc:docMk/>
            <pc:sldMasterMk cId="3780001524" sldId="2147483673"/>
            <pc:sldLayoutMk cId="4284970043" sldId="214748368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f80e603bb8e34c42/Desktop/Project%20-2_Healthcare/P-154%20Healthcare_Dialysis_Exce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P-154\P-154%20afrinExcel.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f80e603bb8e34c42/Desktop/Project%20-2_Healthcare/P-154%20Healthcare_Dialysis_Excel.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1!PivotTable1</c:name>
    <c:fmtId val="-1"/>
  </c:pivotSource>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dirty="0"/>
              <a:t>No</a:t>
            </a:r>
            <a:r>
              <a:rPr lang="en-US" baseline="0" dirty="0"/>
              <a:t> of</a:t>
            </a:r>
            <a:r>
              <a:rPr lang="en-US" dirty="0"/>
              <a:t> Patients</a:t>
            </a:r>
            <a:r>
              <a:rPr lang="en-US" baseline="0" dirty="0"/>
              <a:t> across</a:t>
            </a:r>
            <a:r>
              <a:rPr lang="en-US" dirty="0"/>
              <a:t> Various Summary</a:t>
            </a:r>
          </a:p>
        </c:rich>
      </c:tx>
      <c:layout>
        <c:manualLayout>
          <c:xMode val="edge"/>
          <c:yMode val="edge"/>
          <c:x val="0.15683520599250936"/>
          <c:y val="7.575757575757576E-3"/>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8"/>
        <c:spPr>
          <a:gradFill rotWithShape="1">
            <a:gsLst>
              <a:gs pos="0">
                <a:schemeClr val="accent3">
                  <a:tint val="98000"/>
                  <a:lumMod val="114000"/>
                </a:schemeClr>
              </a:gs>
              <a:gs pos="100000">
                <a:schemeClr val="accent3">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5501710460350617E-3"/>
              <c:y val="5.7984371271772844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9"/>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2031024211860299E-3"/>
              <c:y val="4.8290980672869742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0"/>
        <c:spPr>
          <a:gradFill rotWithShape="1">
            <a:gsLst>
              <a:gs pos="0">
                <a:schemeClr val="accent1">
                  <a:lumMod val="60000"/>
                  <a:tint val="98000"/>
                  <a:lumMod val="114000"/>
                </a:schemeClr>
              </a:gs>
              <a:gs pos="100000">
                <a:schemeClr val="accent1">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9446938865787845E-2"/>
              <c:y val="1.0070985445001124E-2"/>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1"/>
        <c:spPr>
          <a:gradFill rotWithShape="1">
            <a:gsLst>
              <a:gs pos="0">
                <a:schemeClr val="accent6">
                  <a:tint val="98000"/>
                  <a:lumMod val="114000"/>
                </a:schemeClr>
              </a:gs>
              <a:gs pos="100000">
                <a:schemeClr val="accent6">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96834911085544E-2"/>
              <c:y val="-6.8575518969219759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2"/>
        <c:spPr>
          <a:gradFill rotWithShape="1">
            <a:gsLst>
              <a:gs pos="0">
                <a:schemeClr val="accent5">
                  <a:tint val="98000"/>
                  <a:lumMod val="114000"/>
                </a:schemeClr>
              </a:gs>
              <a:gs pos="100000">
                <a:schemeClr val="accent5">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2063205933527975E-2"/>
              <c:y val="6.1217489859222143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3"/>
        <c:spPr>
          <a:gradFill rotWithShape="1">
            <a:gsLst>
              <a:gs pos="0">
                <a:schemeClr val="accent2">
                  <a:lumMod val="60000"/>
                  <a:tint val="98000"/>
                  <a:lumMod val="114000"/>
                </a:schemeClr>
              </a:gs>
              <a:gs pos="100000">
                <a:schemeClr val="accent2">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9157303370786519E-2"/>
              <c:y val="2.272727272727265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6"/>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2031024211860299E-3"/>
              <c:y val="4.8290980672869742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8"/>
        <c:spPr>
          <a:gradFill rotWithShape="1">
            <a:gsLst>
              <a:gs pos="0">
                <a:schemeClr val="accent3">
                  <a:tint val="98000"/>
                  <a:lumMod val="114000"/>
                </a:schemeClr>
              </a:gs>
              <a:gs pos="100000">
                <a:schemeClr val="accent3">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5501710460350617E-3"/>
              <c:y val="5.7984371271772844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1"/>
        <c:spPr>
          <a:gradFill rotWithShape="1">
            <a:gsLst>
              <a:gs pos="0">
                <a:schemeClr val="accent5">
                  <a:tint val="98000"/>
                  <a:lumMod val="114000"/>
                </a:schemeClr>
              </a:gs>
              <a:gs pos="100000">
                <a:schemeClr val="accent5">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2063205933527975E-2"/>
              <c:y val="6.1217489859222143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3"/>
        <c:spPr>
          <a:gradFill rotWithShape="1">
            <a:gsLst>
              <a:gs pos="0">
                <a:schemeClr val="accent6">
                  <a:tint val="98000"/>
                  <a:lumMod val="114000"/>
                </a:schemeClr>
              </a:gs>
              <a:gs pos="100000">
                <a:schemeClr val="accent6">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96834911085544E-2"/>
              <c:y val="-6.8575518969219759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5"/>
        <c:spPr>
          <a:gradFill rotWithShape="1">
            <a:gsLst>
              <a:gs pos="0">
                <a:schemeClr val="accent1">
                  <a:lumMod val="60000"/>
                  <a:tint val="98000"/>
                  <a:lumMod val="114000"/>
                </a:schemeClr>
              </a:gs>
              <a:gs pos="100000">
                <a:schemeClr val="accent1">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9446938865787845E-2"/>
              <c:y val="1.0070985445001124E-2"/>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7"/>
        <c:spPr>
          <a:gradFill rotWithShape="1">
            <a:gsLst>
              <a:gs pos="0">
                <a:schemeClr val="accent2">
                  <a:lumMod val="60000"/>
                  <a:tint val="98000"/>
                  <a:lumMod val="114000"/>
                </a:schemeClr>
              </a:gs>
              <a:gs pos="100000">
                <a:schemeClr val="accent2">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9157303370786519E-2"/>
              <c:y val="2.272727272727265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2031024211860299E-3"/>
              <c:y val="4.8290980672869742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5501710460350617E-3"/>
              <c:y val="5.7984371271772844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2063205933527975E-2"/>
              <c:y val="6.1217489859222143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96834911085544E-2"/>
              <c:y val="-6.8575518969219759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9446938865787845E-2"/>
              <c:y val="1.0070985445001124E-2"/>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9157303370786519E-2"/>
              <c:y val="2.272727272727265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4"/>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2031024211860299E-3"/>
              <c:y val="4.8290980672869742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6"/>
        <c:spPr>
          <a:gradFill rotWithShape="1">
            <a:gsLst>
              <a:gs pos="0">
                <a:schemeClr val="accent3">
                  <a:tint val="98000"/>
                  <a:lumMod val="114000"/>
                </a:schemeClr>
              </a:gs>
              <a:gs pos="100000">
                <a:schemeClr val="accent3">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5501710460350617E-3"/>
              <c:y val="5.7984371271772844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9"/>
        <c:spPr>
          <a:gradFill rotWithShape="1">
            <a:gsLst>
              <a:gs pos="0">
                <a:schemeClr val="accent5">
                  <a:tint val="98000"/>
                  <a:lumMod val="114000"/>
                </a:schemeClr>
              </a:gs>
              <a:gs pos="100000">
                <a:schemeClr val="accent5">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2063205933527975E-2"/>
              <c:y val="6.1217489859222143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1"/>
        <c:spPr>
          <a:gradFill rotWithShape="1">
            <a:gsLst>
              <a:gs pos="0">
                <a:schemeClr val="accent6">
                  <a:tint val="98000"/>
                  <a:lumMod val="114000"/>
                </a:schemeClr>
              </a:gs>
              <a:gs pos="100000">
                <a:schemeClr val="accent6">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96834911085544E-2"/>
              <c:y val="-6.8575518969219759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3"/>
        <c:spPr>
          <a:gradFill rotWithShape="1">
            <a:gsLst>
              <a:gs pos="0">
                <a:schemeClr val="accent1">
                  <a:lumMod val="60000"/>
                  <a:tint val="98000"/>
                  <a:lumMod val="114000"/>
                </a:schemeClr>
              </a:gs>
              <a:gs pos="100000">
                <a:schemeClr val="accent1">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9446938865787845E-2"/>
              <c:y val="1.0070985445001124E-2"/>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5"/>
        <c:spPr>
          <a:gradFill rotWithShape="1">
            <a:gsLst>
              <a:gs pos="0">
                <a:schemeClr val="accent2">
                  <a:lumMod val="60000"/>
                  <a:tint val="98000"/>
                  <a:lumMod val="114000"/>
                </a:schemeClr>
              </a:gs>
              <a:gs pos="100000">
                <a:schemeClr val="accent2">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9157303370786519E-2"/>
              <c:y val="2.272727272727265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8"/>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2031024211860299E-3"/>
              <c:y val="4.8290980672869742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0"/>
        <c:spPr>
          <a:gradFill rotWithShape="1">
            <a:gsLst>
              <a:gs pos="0">
                <a:schemeClr val="accent3">
                  <a:tint val="98000"/>
                  <a:lumMod val="114000"/>
                </a:schemeClr>
              </a:gs>
              <a:gs pos="100000">
                <a:schemeClr val="accent3">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7.5501710460350617E-3"/>
              <c:y val="5.7984371271772844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3"/>
        <c:spPr>
          <a:gradFill rotWithShape="1">
            <a:gsLst>
              <a:gs pos="0">
                <a:schemeClr val="accent5">
                  <a:tint val="98000"/>
                  <a:lumMod val="114000"/>
                </a:schemeClr>
              </a:gs>
              <a:gs pos="100000">
                <a:schemeClr val="accent5">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2063205933527975E-2"/>
              <c:y val="6.1217489859222143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5"/>
        <c:spPr>
          <a:gradFill rotWithShape="1">
            <a:gsLst>
              <a:gs pos="0">
                <a:schemeClr val="accent6">
                  <a:tint val="98000"/>
                  <a:lumMod val="114000"/>
                </a:schemeClr>
              </a:gs>
              <a:gs pos="100000">
                <a:schemeClr val="accent6">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96834911085544E-2"/>
              <c:y val="-6.8575518969219759E-3"/>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7"/>
        <c:spPr>
          <a:gradFill rotWithShape="1">
            <a:gsLst>
              <a:gs pos="0">
                <a:schemeClr val="accent1">
                  <a:lumMod val="60000"/>
                  <a:tint val="98000"/>
                  <a:lumMod val="114000"/>
                </a:schemeClr>
              </a:gs>
              <a:gs pos="100000">
                <a:schemeClr val="accent1">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9446938865787845E-2"/>
              <c:y val="1.0070985445001124E-2"/>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9"/>
        <c:spPr>
          <a:gradFill rotWithShape="1">
            <a:gsLst>
              <a:gs pos="0">
                <a:schemeClr val="accent2">
                  <a:lumMod val="60000"/>
                  <a:tint val="98000"/>
                  <a:lumMod val="114000"/>
                </a:schemeClr>
              </a:gs>
              <a:gs pos="100000">
                <a:schemeClr val="accent2">
                  <a:lumMod val="60000"/>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9157303370786519E-2"/>
              <c:y val="2.2727272727272659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view3D>
      <c:rotX val="30"/>
      <c:rotY val="5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1.9428496249688301E-2"/>
          <c:y val="0.12068107845462449"/>
          <c:w val="0.66655275885458143"/>
          <c:h val="0.87114232879980913"/>
        </c:manualLayout>
      </c:layout>
      <c:bar3DChart>
        <c:barDir val="col"/>
        <c:grouping val="standard"/>
        <c:varyColors val="0"/>
        <c:ser>
          <c:idx val="0"/>
          <c:order val="0"/>
          <c:tx>
            <c:strRef>
              <c:f>'KPI-1'!$A$5</c:f>
              <c:strCache>
                <c:ptCount val="1"/>
                <c:pt idx="0">
                  <c:v>Transfusion summary</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Lbls>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A$6</c:f>
              <c:numCache>
                <c:formatCode>General</c:formatCode>
                <c:ptCount val="1"/>
                <c:pt idx="0">
                  <c:v>421791</c:v>
                </c:pt>
              </c:numCache>
            </c:numRef>
          </c:val>
          <c:extLst xmlns:c16r2="http://schemas.microsoft.com/office/drawing/2015/06/chart">
            <c:ext xmlns:c16="http://schemas.microsoft.com/office/drawing/2014/chart" uri="{C3380CC4-5D6E-409C-BE32-E72D297353CC}">
              <c16:uniqueId val="{00000000-3FF2-4C5C-9AA3-12F8C81A6A15}"/>
            </c:ext>
          </c:extLst>
        </c:ser>
        <c:ser>
          <c:idx val="1"/>
          <c:order val="1"/>
          <c:tx>
            <c:strRef>
              <c:f>'KPI-1'!$B$5</c:f>
              <c:strCache>
                <c:ptCount val="1"/>
                <c:pt idx="0">
                  <c:v>Hypercalcemia summary</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1-3FF2-4C5C-9AA3-12F8C81A6A15}"/>
              </c:ext>
            </c:extLst>
          </c:dPt>
          <c:dLbls>
            <c:dLbl>
              <c:idx val="0"/>
              <c:layout>
                <c:manualLayout>
                  <c:x val="1.508963773884534E-3"/>
                  <c:y val="-9.8460072733953709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FF2-4C5C-9AA3-12F8C81A6A15}"/>
                </c:ext>
                <c:ext xmlns:c15="http://schemas.microsoft.com/office/drawing/2012/chart" uri="{CE6537A1-D6FC-4f65-9D91-7224C49458BB}"/>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B$6</c:f>
              <c:numCache>
                <c:formatCode>General</c:formatCode>
                <c:ptCount val="1"/>
                <c:pt idx="0">
                  <c:v>633918</c:v>
                </c:pt>
              </c:numCache>
            </c:numRef>
          </c:val>
          <c:extLst xmlns:c16r2="http://schemas.microsoft.com/office/drawing/2015/06/chart">
            <c:ext xmlns:c16="http://schemas.microsoft.com/office/drawing/2014/chart" uri="{C3380CC4-5D6E-409C-BE32-E72D297353CC}">
              <c16:uniqueId val="{00000002-3FF2-4C5C-9AA3-12F8C81A6A15}"/>
            </c:ext>
          </c:extLst>
        </c:ser>
        <c:ser>
          <c:idx val="2"/>
          <c:order val="2"/>
          <c:tx>
            <c:strRef>
              <c:f>'KPI-1'!$C$5</c:f>
              <c:strCache>
                <c:ptCount val="1"/>
                <c:pt idx="0">
                  <c:v>Serum phosphorus summary</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3-3FF2-4C5C-9AA3-12F8C81A6A15}"/>
              </c:ext>
            </c:extLst>
          </c:dPt>
          <c:dLbls>
            <c:dLbl>
              <c:idx val="0"/>
              <c:layout>
                <c:manualLayout>
                  <c:x val="-7.5501992186387855E-3"/>
                  <c:y val="-1.621420030927385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FF2-4C5C-9AA3-12F8C81A6A15}"/>
                </c:ext>
                <c:ext xmlns:c15="http://schemas.microsoft.com/office/drawing/2012/chart" uri="{CE6537A1-D6FC-4f65-9D91-7224C49458BB}"/>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C$6</c:f>
              <c:numCache>
                <c:formatCode>General</c:formatCode>
                <c:ptCount val="1"/>
                <c:pt idx="0">
                  <c:v>663878</c:v>
                </c:pt>
              </c:numCache>
            </c:numRef>
          </c:val>
          <c:extLst xmlns:c16r2="http://schemas.microsoft.com/office/drawing/2015/06/chart">
            <c:ext xmlns:c16="http://schemas.microsoft.com/office/drawing/2014/chart" uri="{C3380CC4-5D6E-409C-BE32-E72D297353CC}">
              <c16:uniqueId val="{00000004-3FF2-4C5C-9AA3-12F8C81A6A15}"/>
            </c:ext>
          </c:extLst>
        </c:ser>
        <c:ser>
          <c:idx val="3"/>
          <c:order val="3"/>
          <c:tx>
            <c:strRef>
              <c:f>'KPI-1'!$D$5</c:f>
              <c:strCache>
                <c:ptCount val="1"/>
                <c:pt idx="0">
                  <c:v>Hospitalization summary</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Lbls>
            <c:dLbl>
              <c:idx val="0"/>
              <c:layout>
                <c:manualLayout>
                  <c:x val="0"/>
                  <c:y val="-1.834381627064726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3FF2-4C5C-9AA3-12F8C81A6A15}"/>
                </c:ext>
                <c:ext xmlns:c15="http://schemas.microsoft.com/office/drawing/2012/chart" uri="{CE6537A1-D6FC-4f65-9D91-7224C49458BB}"/>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D$6</c:f>
              <c:numCache>
                <c:formatCode>General</c:formatCode>
                <c:ptCount val="1"/>
                <c:pt idx="0">
                  <c:v>494578</c:v>
                </c:pt>
              </c:numCache>
            </c:numRef>
          </c:val>
          <c:extLst xmlns:c16r2="http://schemas.microsoft.com/office/drawing/2015/06/chart">
            <c:ext xmlns:c16="http://schemas.microsoft.com/office/drawing/2014/chart" uri="{C3380CC4-5D6E-409C-BE32-E72D297353CC}">
              <c16:uniqueId val="{00000005-3FF2-4C5C-9AA3-12F8C81A6A15}"/>
            </c:ext>
          </c:extLst>
        </c:ser>
        <c:ser>
          <c:idx val="4"/>
          <c:order val="4"/>
          <c:tx>
            <c:strRef>
              <c:f>'KPI-1'!$E$5</c:f>
              <c:strCache>
                <c:ptCount val="1"/>
                <c:pt idx="0">
                  <c:v>Survival summary</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6-3FF2-4C5C-9AA3-12F8C81A6A15}"/>
              </c:ext>
            </c:extLst>
          </c:dPt>
          <c:dLbls>
            <c:dLbl>
              <c:idx val="0"/>
              <c:layout>
                <c:manualLayout>
                  <c:x val="3.7757497348496649E-2"/>
                  <c:y val="-8.5532737645584514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3FF2-4C5C-9AA3-12F8C81A6A15}"/>
                </c:ext>
                <c:ext xmlns:c15="http://schemas.microsoft.com/office/drawing/2012/chart" uri="{CE6537A1-D6FC-4f65-9D91-7224C49458BB}"/>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E$6</c:f>
              <c:numCache>
                <c:formatCode>General</c:formatCode>
                <c:ptCount val="1"/>
                <c:pt idx="0">
                  <c:v>1937701</c:v>
                </c:pt>
              </c:numCache>
            </c:numRef>
          </c:val>
          <c:extLst xmlns:c16r2="http://schemas.microsoft.com/office/drawing/2015/06/chart">
            <c:ext xmlns:c16="http://schemas.microsoft.com/office/drawing/2014/chart" uri="{C3380CC4-5D6E-409C-BE32-E72D297353CC}">
              <c16:uniqueId val="{00000007-3FF2-4C5C-9AA3-12F8C81A6A15}"/>
            </c:ext>
          </c:extLst>
        </c:ser>
        <c:ser>
          <c:idx val="5"/>
          <c:order val="5"/>
          <c:tx>
            <c:strRef>
              <c:f>'KPI-1'!$F$5</c:f>
              <c:strCache>
                <c:ptCount val="1"/>
                <c:pt idx="0">
                  <c:v>Fistula summary</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8-3FF2-4C5C-9AA3-12F8C81A6A15}"/>
              </c:ext>
            </c:extLst>
          </c:dPt>
          <c:dLbls>
            <c:dLbl>
              <c:idx val="0"/>
              <c:layout>
                <c:manualLayout>
                  <c:x val="1.296834911085544E-2"/>
                  <c:y val="-6.8575518969219759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3FF2-4C5C-9AA3-12F8C81A6A15}"/>
                </c:ext>
                <c:ext xmlns:c15="http://schemas.microsoft.com/office/drawing/2012/chart" uri="{CE6537A1-D6FC-4f65-9D91-7224C49458BB}"/>
              </c:extLst>
            </c:dLbl>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F$6</c:f>
              <c:numCache>
                <c:formatCode>General</c:formatCode>
                <c:ptCount val="1"/>
                <c:pt idx="0">
                  <c:v>596383</c:v>
                </c:pt>
              </c:numCache>
            </c:numRef>
          </c:val>
          <c:extLst xmlns:c16r2="http://schemas.microsoft.com/office/drawing/2015/06/chart">
            <c:ext xmlns:c16="http://schemas.microsoft.com/office/drawing/2014/chart" uri="{C3380CC4-5D6E-409C-BE32-E72D297353CC}">
              <c16:uniqueId val="{00000009-3FF2-4C5C-9AA3-12F8C81A6A15}"/>
            </c:ext>
          </c:extLst>
        </c:ser>
        <c:ser>
          <c:idx val="6"/>
          <c:order val="6"/>
          <c:tx>
            <c:strRef>
              <c:f>'KPI-1'!$G$5</c:f>
              <c:strCache>
                <c:ptCount val="1"/>
                <c:pt idx="0">
                  <c:v>Catheter summary</c:v>
                </c:pt>
              </c:strCache>
            </c:strRef>
          </c:tx>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A-3FF2-4C5C-9AA3-12F8C81A6A15}"/>
              </c:ext>
            </c:extLst>
          </c:dPt>
          <c:dLbls>
            <c:dLbl>
              <c:idx val="0"/>
              <c:layout>
                <c:manualLayout>
                  <c:x val="4.5141129922655239E-2"/>
                  <c:y val="-1.1941535513194981E-2"/>
                </c:manualLayout>
              </c:layout>
              <c:numFmt formatCode="#,##0,&quot;k&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3FF2-4C5C-9AA3-12F8C81A6A15}"/>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G$6</c:f>
              <c:numCache>
                <c:formatCode>General</c:formatCode>
                <c:ptCount val="1"/>
                <c:pt idx="0">
                  <c:v>596565</c:v>
                </c:pt>
              </c:numCache>
            </c:numRef>
          </c:val>
          <c:extLst xmlns:c16r2="http://schemas.microsoft.com/office/drawing/2015/06/chart">
            <c:ext xmlns:c16="http://schemas.microsoft.com/office/drawing/2014/chart" uri="{C3380CC4-5D6E-409C-BE32-E72D297353CC}">
              <c16:uniqueId val="{0000000B-3FF2-4C5C-9AA3-12F8C81A6A15}"/>
            </c:ext>
          </c:extLst>
        </c:ser>
        <c:ser>
          <c:idx val="7"/>
          <c:order val="7"/>
          <c:tx>
            <c:strRef>
              <c:f>'KPI-1'!$H$5</c:f>
              <c:strCache>
                <c:ptCount val="1"/>
                <c:pt idx="0">
                  <c:v>nPCR summary</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C-3FF2-4C5C-9AA3-12F8C81A6A15}"/>
              </c:ext>
            </c:extLst>
          </c:dPt>
          <c:dLbls>
            <c:dLbl>
              <c:idx val="0"/>
              <c:layout>
                <c:manualLayout>
                  <c:x val="4.3463133510899803E-2"/>
                  <c:y val="-3.046980102303621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3FF2-4C5C-9AA3-12F8C81A6A15}"/>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PI-1'!$A$6</c:f>
              <c:strCache>
                <c:ptCount val="1"/>
                <c:pt idx="0">
                  <c:v>Total</c:v>
                </c:pt>
              </c:strCache>
            </c:strRef>
          </c:cat>
          <c:val>
            <c:numRef>
              <c:f>'KPI-1'!$H$6</c:f>
              <c:numCache>
                <c:formatCode>General</c:formatCode>
                <c:ptCount val="1"/>
                <c:pt idx="0">
                  <c:v>980</c:v>
                </c:pt>
              </c:numCache>
            </c:numRef>
          </c:val>
          <c:extLst xmlns:c16r2="http://schemas.microsoft.com/office/drawing/2015/06/chart">
            <c:ext xmlns:c16="http://schemas.microsoft.com/office/drawing/2014/chart" uri="{C3380CC4-5D6E-409C-BE32-E72D297353CC}">
              <c16:uniqueId val="{0000000D-3FF2-4C5C-9AA3-12F8C81A6A15}"/>
            </c:ext>
          </c:extLst>
        </c:ser>
        <c:dLbls>
          <c:showLegendKey val="0"/>
          <c:showVal val="1"/>
          <c:showCatName val="0"/>
          <c:showSerName val="0"/>
          <c:showPercent val="0"/>
          <c:showBubbleSize val="0"/>
        </c:dLbls>
        <c:gapWidth val="150"/>
        <c:shape val="box"/>
        <c:axId val="356076968"/>
        <c:axId val="371991496"/>
        <c:axId val="355928832"/>
      </c:bar3DChart>
      <c:catAx>
        <c:axId val="356076968"/>
        <c:scaling>
          <c:orientation val="minMax"/>
        </c:scaling>
        <c:delete val="1"/>
        <c:axPos val="b"/>
        <c:numFmt formatCode="General" sourceLinked="1"/>
        <c:majorTickMark val="none"/>
        <c:minorTickMark val="none"/>
        <c:tickLblPos val="nextTo"/>
        <c:crossAx val="371991496"/>
        <c:crosses val="autoZero"/>
        <c:auto val="1"/>
        <c:lblAlgn val="ctr"/>
        <c:lblOffset val="100"/>
        <c:noMultiLvlLbl val="0"/>
      </c:catAx>
      <c:valAx>
        <c:axId val="37199149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356076968"/>
        <c:crosses val="autoZero"/>
        <c:crossBetween val="between"/>
      </c:valAx>
      <c:serAx>
        <c:axId val="355928832"/>
        <c:scaling>
          <c:orientation val="minMax"/>
        </c:scaling>
        <c:delete val="1"/>
        <c:axPos val="b"/>
        <c:majorTickMark val="none"/>
        <c:minorTickMark val="none"/>
        <c:tickLblPos val="nextTo"/>
        <c:crossAx val="371991496"/>
        <c:crosses val="autoZero"/>
      </c:serAx>
      <c:spPr>
        <a:noFill/>
        <a:ln w="25400">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2!PivotTable2</c:name>
    <c:fmtId val="-1"/>
  </c:pivotSource>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a:t>Profit vs Non Profit Stats</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c:spPr>
        <c:dLbl>
          <c:idx val="0"/>
          <c:layout>
            <c:manualLayout>
              <c:x val="-7.7777777777777779E-2"/>
              <c:y val="-8.7962962962962965E-2"/>
            </c:manualLayout>
          </c:layout>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c:spPr>
        <c:dLbl>
          <c:idx val="0"/>
          <c:layout>
            <c:manualLayout>
              <c:x val="8.0555555555555505E-2"/>
              <c:y val="-0.15277777777777787"/>
            </c:manualLayout>
          </c:layout>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c:spPr>
        <c:marker>
          <c:symbol val="none"/>
        </c:marker>
        <c:dLbl>
          <c:idx val="0"/>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c:spPr>
        <c:dLbl>
          <c:idx val="0"/>
          <c:layout>
            <c:manualLayout>
              <c:x val="8.0555555555555505E-2"/>
              <c:y val="-0.15277777777777787"/>
            </c:manualLayout>
          </c:layout>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c:spPr>
        <c:dLbl>
          <c:idx val="0"/>
          <c:layout>
            <c:manualLayout>
              <c:x val="-7.7777777777777779E-2"/>
              <c:y val="-8.7962962962962965E-2"/>
            </c:manualLayout>
          </c:layout>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dLbl>
          <c:idx val="0"/>
          <c:layout>
            <c:manualLayout>
              <c:x val="2.7845920659366079E-2"/>
              <c:y val="-6.9941596395873856E-2"/>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9910977389352594"/>
                  <c:h val="0.1073706253889545"/>
                </c:manualLayout>
              </c15:layout>
            </c:ext>
          </c:extLst>
        </c:dLbl>
      </c:pivotFmt>
      <c:pivotFmt>
        <c:idx val="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dLbl>
          <c:idx val="0"/>
          <c:layout>
            <c:manualLayout>
              <c:x val="2.829715220203341E-2"/>
              <c:y val="-0.31597312683864887"/>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37304386274126777"/>
                  <c:h val="0.12686151416580915"/>
                </c:manualLayout>
              </c15:layout>
            </c:ext>
          </c:extLst>
        </c:dLbl>
      </c:pivotFmt>
      <c:pivotFmt>
        <c:idx val="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dLbl>
          <c:idx val="0"/>
          <c:layout>
            <c:manualLayout>
              <c:x val="2.7845920659366079E-2"/>
              <c:y val="-6.9941596395873856E-2"/>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9910977389352594"/>
                  <c:h val="0.1073706253889545"/>
                </c:manualLayout>
              </c15:layout>
            </c:ext>
          </c:extLst>
        </c:dLbl>
      </c:pivotFmt>
      <c:pivotFmt>
        <c:idx val="1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dLbl>
          <c:idx val="0"/>
          <c:layout>
            <c:manualLayout>
              <c:x val="2.829715220203341E-2"/>
              <c:y val="-0.31597312683864887"/>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37304386274126777"/>
                  <c:h val="0.12686151416580915"/>
                </c:manualLayout>
              </c15:layout>
            </c:ext>
          </c:extLst>
        </c:dLbl>
      </c:pivotFmt>
      <c:pivotFmt>
        <c:idx val="1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dLbl>
          <c:idx val="0"/>
          <c:layout>
            <c:manualLayout>
              <c:x val="2.7845920659366079E-2"/>
              <c:y val="-6.9941596395873856E-2"/>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9910977389352594"/>
                  <c:h val="0.1073706253889545"/>
                </c:manualLayout>
              </c15:layout>
            </c:ext>
          </c:extLst>
        </c:dLbl>
      </c:pivotFmt>
      <c:pivotFmt>
        <c:idx val="1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57150" dist="19050" dir="5400000" algn="ctr" rotWithShape="0">
              <a:schemeClr val="accent1">
                <a:lumMod val="60000"/>
                <a:lumOff val="40000"/>
                <a:alpha val="63000"/>
              </a:schemeClr>
            </a:outerShdw>
          </a:effectLst>
          <a:scene3d>
            <a:camera prst="orthographicFront">
              <a:rot lat="0" lon="0" rev="0"/>
            </a:camera>
            <a:lightRig rig="threePt" dir="tl"/>
          </a:scene3d>
          <a:sp3d prstMaterial="plastic">
            <a:bevelT w="0" h="0"/>
          </a:sp3d>
        </c:spPr>
        <c:dLbl>
          <c:idx val="0"/>
          <c:layout>
            <c:manualLayout>
              <c:x val="2.829715220203341E-2"/>
              <c:y val="-0.31597312683864887"/>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37304386274126777"/>
                  <c:h val="0.12686151416580915"/>
                </c:manualLayout>
              </c15:layout>
            </c:ext>
          </c:extLst>
        </c:dLbl>
      </c:pivotFmt>
    </c:pivotFmts>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4.18632519505968E-2"/>
          <c:y val="0.18133199838054909"/>
          <c:w val="0.92915449669899008"/>
          <c:h val="0.71171494016420644"/>
        </c:manualLayout>
      </c:layout>
      <c:bar3DChart>
        <c:barDir val="col"/>
        <c:grouping val="stacked"/>
        <c:varyColors val="0"/>
        <c:ser>
          <c:idx val="0"/>
          <c:order val="0"/>
          <c:tx>
            <c:strRef>
              <c:f>'KPI-2'!$B$3</c:f>
              <c:strCache>
                <c:ptCount val="1"/>
                <c:pt idx="0">
                  <c:v>Total</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0-9F0F-43EA-BF50-502E8B59215F}"/>
              </c:ext>
            </c:extLst>
          </c:dPt>
          <c:dPt>
            <c:idx val="1"/>
            <c:invertIfNegative val="0"/>
            <c:bubble3D val="0"/>
            <c:extLst xmlns:c16r2="http://schemas.microsoft.com/office/drawing/2015/06/chart">
              <c:ext xmlns:c16="http://schemas.microsoft.com/office/drawing/2014/chart" uri="{C3380CC4-5D6E-409C-BE32-E72D297353CC}">
                <c16:uniqueId val="{00000001-9F0F-43EA-BF50-502E8B59215F}"/>
              </c:ext>
            </c:extLst>
          </c:dPt>
          <c:dLbls>
            <c:dLbl>
              <c:idx val="0"/>
              <c:layout>
                <c:manualLayout>
                  <c:x val="2.784603552975521E-2"/>
                  <c:y val="-8.924244469003685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F0F-43EA-BF50-502E8B59215F}"/>
                </c:ext>
                <c:ext xmlns:c15="http://schemas.microsoft.com/office/drawing/2012/chart" uri="{CE6537A1-D6FC-4f65-9D91-7224C49458BB}"/>
              </c:extLst>
            </c:dLbl>
            <c:dLbl>
              <c:idx val="1"/>
              <c:layout>
                <c:manualLayout>
                  <c:x val="2.8297124113765487E-2"/>
                  <c:y val="-0.3391342381346648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F0F-43EA-BF50-502E8B59215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KPI-2'!$A$4:$A$6</c:f>
              <c:strCache>
                <c:ptCount val="2"/>
                <c:pt idx="0">
                  <c:v>Non-Profit</c:v>
                </c:pt>
                <c:pt idx="1">
                  <c:v>Profit</c:v>
                </c:pt>
              </c:strCache>
            </c:strRef>
          </c:cat>
          <c:val>
            <c:numRef>
              <c:f>'KPI-2'!$B$4:$B$6</c:f>
              <c:numCache>
                <c:formatCode>General</c:formatCode>
                <c:ptCount val="2"/>
                <c:pt idx="0">
                  <c:v>869</c:v>
                </c:pt>
                <c:pt idx="1">
                  <c:v>6854</c:v>
                </c:pt>
              </c:numCache>
            </c:numRef>
          </c:val>
          <c:extLst xmlns:c16r2="http://schemas.microsoft.com/office/drawing/2015/06/chart">
            <c:ext xmlns:c16="http://schemas.microsoft.com/office/drawing/2014/chart" uri="{C3380CC4-5D6E-409C-BE32-E72D297353CC}">
              <c16:uniqueId val="{00000002-9F0F-43EA-BF50-502E8B59215F}"/>
            </c:ext>
          </c:extLst>
        </c:ser>
        <c:dLbls>
          <c:showLegendKey val="0"/>
          <c:showVal val="1"/>
          <c:showCatName val="0"/>
          <c:showSerName val="0"/>
          <c:showPercent val="0"/>
          <c:showBubbleSize val="0"/>
        </c:dLbls>
        <c:gapWidth val="150"/>
        <c:shape val="pyramid"/>
        <c:axId val="356077752"/>
        <c:axId val="356079320"/>
        <c:axId val="0"/>
      </c:bar3DChart>
      <c:catAx>
        <c:axId val="356077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56079320"/>
        <c:crosses val="autoZero"/>
        <c:auto val="1"/>
        <c:lblAlgn val="ctr"/>
        <c:lblOffset val="100"/>
        <c:noMultiLvlLbl val="0"/>
      </c:catAx>
      <c:valAx>
        <c:axId val="356079320"/>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35607775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2!PivotTable1</c:name>
    <c:fmtId val="-1"/>
  </c:pivotSource>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Mortality rate</a:t>
            </a:r>
          </a:p>
        </c:rich>
      </c:tx>
      <c:layout>
        <c:manualLayout>
          <c:xMode val="edge"/>
          <c:yMode val="edge"/>
          <c:x val="0.35249884735948733"/>
          <c:y val="6.796221693218580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dLbl>
          <c:idx val="0"/>
          <c:layout>
            <c:manualLayout>
              <c:x val="2.9440628066732092E-2"/>
              <c:y val="-0.26162790697674421"/>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dLbl>
          <c:idx val="0"/>
          <c:layout>
            <c:manualLayout>
              <c:x val="3.2711808963035653E-2"/>
              <c:y val="-9.205426356589147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dLbl>
          <c:idx val="0"/>
          <c:layout>
            <c:manualLayout>
              <c:x val="3.2711808963035653E-2"/>
              <c:y val="-9.205426356589147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dLbl>
          <c:idx val="0"/>
          <c:layout>
            <c:manualLayout>
              <c:x val="2.9440628066732092E-2"/>
              <c:y val="-0.26162790697674421"/>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dLbl>
          <c:idx val="0"/>
          <c:layout>
            <c:manualLayout>
              <c:x val="3.2711808963035653E-2"/>
              <c:y val="-9.205426356589147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8"/>
        <c:spPr>
          <a:solidFill>
            <a:schemeClr val="accent2">
              <a:lumMod val="60000"/>
              <a:lumOff val="40000"/>
            </a:schemeClr>
          </a:solidFill>
          <a:ln cap="rnd">
            <a:solidFill>
              <a:schemeClr val="accent1"/>
            </a:solidFill>
            <a:miter lim="800000"/>
          </a:ln>
          <a:effectLst>
            <a:glow rad="101600">
              <a:schemeClr val="accent3">
                <a:satMod val="175000"/>
                <a:alpha val="40000"/>
              </a:schemeClr>
            </a:glow>
          </a:effectLst>
          <a:scene3d>
            <a:camera prst="orthographicFront"/>
            <a:lightRig rig="threePt" dir="t"/>
          </a:scene3d>
          <a:sp3d>
            <a:contourClr>
              <a:schemeClr val="accent1"/>
            </a:contourClr>
          </a:sp3d>
        </c:spPr>
        <c:dLbl>
          <c:idx val="0"/>
          <c:layout>
            <c:manualLayout>
              <c:x val="2.9440628066732092E-2"/>
              <c:y val="-0.26162790697674421"/>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6981408573928253E-2"/>
          <c:y val="0.22611818214504012"/>
          <c:w val="0.84524081364829395"/>
          <c:h val="0.65902345419031927"/>
        </c:manualLayout>
      </c:layout>
      <c:bar3DChart>
        <c:barDir val="col"/>
        <c:grouping val="stacked"/>
        <c:varyColors val="0"/>
        <c:ser>
          <c:idx val="0"/>
          <c:order val="0"/>
          <c:tx>
            <c:strRef>
              <c:f>'KPI-2'!$B$26</c:f>
              <c:strCache>
                <c:ptCount val="1"/>
                <c:pt idx="0">
                  <c:v>Total</c:v>
                </c:pt>
              </c:strCache>
            </c:strRef>
          </c:tx>
          <c:spPr>
            <a:solidFill>
              <a:schemeClr val="accent1"/>
            </a:solidFill>
            <a:ln>
              <a:noFill/>
            </a:ln>
            <a:effectLst/>
            <a:sp3d/>
          </c:spPr>
          <c:invertIfNegative val="0"/>
          <c:dLbls>
            <c:dLbl>
              <c:idx val="0"/>
              <c:layout>
                <c:manualLayout>
                  <c:x val="2.9440628066732092E-2"/>
                  <c:y val="-0.13081395348837219"/>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C1D6-4E93-B0DC-87B36D0B6C03}"/>
                </c:ext>
                <c:ext xmlns:c15="http://schemas.microsoft.com/office/drawing/2012/chart" uri="{CE6537A1-D6FC-4f65-9D91-7224C49458BB}"/>
              </c:extLst>
            </c:dLbl>
            <c:dLbl>
              <c:idx val="1"/>
              <c:layout>
                <c:manualLayout>
                  <c:x val="2.9440628066732092E-2"/>
                  <c:y val="-0.3197674418604651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1D6-4E93-B0DC-87B36D0B6C03}"/>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KPI-2'!$A$27:$A$29</c:f>
              <c:strCache>
                <c:ptCount val="2"/>
                <c:pt idx="0">
                  <c:v>Non-Profit</c:v>
                </c:pt>
                <c:pt idx="1">
                  <c:v>Profit</c:v>
                </c:pt>
              </c:strCache>
            </c:strRef>
          </c:cat>
          <c:val>
            <c:numRef>
              <c:f>'KPI-2'!$B$27:$B$29</c:f>
              <c:numCache>
                <c:formatCode>0</c:formatCode>
                <c:ptCount val="2"/>
                <c:pt idx="0">
                  <c:v>16883.499999999978</c:v>
                </c:pt>
                <c:pt idx="1">
                  <c:v>140319.09999999992</c:v>
                </c:pt>
              </c:numCache>
            </c:numRef>
          </c:val>
          <c:extLst xmlns:c16r2="http://schemas.microsoft.com/office/drawing/2015/06/chart">
            <c:ext xmlns:c16="http://schemas.microsoft.com/office/drawing/2014/chart" uri="{C3380CC4-5D6E-409C-BE32-E72D297353CC}">
              <c16:uniqueId val="{00000002-C1D6-4E93-B0DC-87B36D0B6C03}"/>
            </c:ext>
          </c:extLst>
        </c:ser>
        <c:dLbls>
          <c:showLegendKey val="0"/>
          <c:showVal val="1"/>
          <c:showCatName val="0"/>
          <c:showSerName val="0"/>
          <c:showPercent val="0"/>
          <c:showBubbleSize val="0"/>
        </c:dLbls>
        <c:gapWidth val="150"/>
        <c:shape val="cylinder"/>
        <c:axId val="356078144"/>
        <c:axId val="356073048"/>
        <c:axId val="0"/>
      </c:bar3DChart>
      <c:catAx>
        <c:axId val="35607814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6073048"/>
        <c:crosses val="autoZero"/>
        <c:auto val="1"/>
        <c:lblAlgn val="ctr"/>
        <c:lblOffset val="100"/>
        <c:noMultiLvlLbl val="0"/>
      </c:catAx>
      <c:valAx>
        <c:axId val="356073048"/>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35607814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afrinExcel.xlsx]KPI-3!PivotTable3</c:name>
    <c:fmtId val="11"/>
  </c:pivotSource>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OP 3 Chain Organizations - # Dialysis Station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circle"/>
          <c:size val="6"/>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0"/>
          <c:showCatName val="1"/>
          <c:showSerName val="0"/>
          <c:showPercent val="1"/>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dLbl>
          <c:idx val="0"/>
          <c:layout>
            <c:manualLayout>
              <c:x val="0.10040976158173461"/>
              <c:y val="0.1175659813356663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3"/>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0"/>
          <c:showCatName val="1"/>
          <c:showSerName val="0"/>
          <c:showPercent val="1"/>
          <c:showBubbleSize val="0"/>
          <c:extLst xmlns:c16r2="http://schemas.microsoft.com/office/drawing/2015/06/char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dLbl>
          <c:idx val="0"/>
          <c:layout>
            <c:manualLayout>
              <c:x val="0.10040976158173461"/>
              <c:y val="0.1175659813356663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0"/>
          <c:showCatName val="1"/>
          <c:showSerName val="0"/>
          <c:showPercent val="1"/>
          <c:showBubbleSize val="0"/>
          <c:extLst xmlns:c16r2="http://schemas.microsoft.com/office/drawing/2015/06/chart">
            <c:ext xmlns:c15="http://schemas.microsoft.com/office/drawing/2012/chart" uri="{CE6537A1-D6FC-4f65-9D91-7224C49458BB}"/>
          </c:extLst>
        </c:dLbl>
      </c:pivotFmt>
      <c:pivotFmt>
        <c:idx val="8"/>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9"/>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0.11100308018699312"/>
              <c:y val="4.600682464290049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0"/>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8.1411988357032422E-2"/>
              <c:y val="0.10179308021229244"/>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1"/>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6984167328198934E-2"/>
              <c:y val="1.712211080692368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2"/>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1"/>
          <c:showSerName val="0"/>
          <c:showPercent val="0"/>
          <c:showBubbleSize val="0"/>
          <c:extLst>
            <c:ext xmlns:c15="http://schemas.microsoft.com/office/drawing/2012/chart" uri="{CE6537A1-D6FC-4f65-9D91-7224C49458BB}"/>
          </c:extLst>
        </c:dLbl>
      </c:pivotFmt>
      <c:pivotFmt>
        <c:idx val="13"/>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0.11100308018699312"/>
              <c:y val="4.600682464290049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4"/>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8.1411988357032422E-2"/>
              <c:y val="0.10179308021229244"/>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5"/>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6984167328198934E-2"/>
              <c:y val="1.712211080692368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6"/>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1"/>
          <c:showSerName val="0"/>
          <c:showPercent val="0"/>
          <c:showBubbleSize val="0"/>
          <c:extLst>
            <c:ext xmlns:c15="http://schemas.microsoft.com/office/drawing/2012/chart" uri="{CE6537A1-D6FC-4f65-9D91-7224C49458BB}"/>
          </c:extLst>
        </c:dLbl>
      </c:pivotFmt>
      <c:pivotFmt>
        <c:idx val="17"/>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0.11100308018699312"/>
              <c:y val="4.600682464290049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8"/>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8.1411988357032422E-2"/>
              <c:y val="0.10179308021229244"/>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
        <c:idx val="19"/>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6984167328198934E-2"/>
              <c:y val="1.712211080692368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pivotFmt>
    </c:pivotFmts>
    <c:plotArea>
      <c:layout>
        <c:manualLayout>
          <c:layoutTarget val="inner"/>
          <c:xMode val="edge"/>
          <c:yMode val="edge"/>
          <c:x val="0.14458453267359708"/>
          <c:y val="0.18300925925925926"/>
          <c:w val="0.41659113796576031"/>
          <c:h val="0.76606481481481481"/>
        </c:manualLayout>
      </c:layout>
      <c:pieChart>
        <c:varyColors val="1"/>
        <c:ser>
          <c:idx val="0"/>
          <c:order val="0"/>
          <c:tx>
            <c:strRef>
              <c:f>'KPI-3'!$B$4</c:f>
              <c:strCache>
                <c:ptCount val="1"/>
                <c:pt idx="0">
                  <c:v>Total</c:v>
                </c:pt>
              </c:strCache>
            </c:strRef>
          </c:tx>
          <c:explosion val="38"/>
          <c:dPt>
            <c:idx val="0"/>
            <c:bubble3D val="0"/>
            <c:explosion val="16"/>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4D78-4698-9AE0-562A30C110A1}"/>
              </c:ext>
            </c:extLst>
          </c:dPt>
          <c:dPt>
            <c:idx val="1"/>
            <c:bubble3D val="0"/>
            <c:explosion val="19"/>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4D78-4698-9AE0-562A30C110A1}"/>
              </c:ext>
            </c:extLst>
          </c:dPt>
          <c:dPt>
            <c:idx val="2"/>
            <c:bubble3D val="0"/>
            <c:explosion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4D78-4698-9AE0-562A30C110A1}"/>
              </c:ext>
            </c:extLst>
          </c:dPt>
          <c:dLbls>
            <c:dLbl>
              <c:idx val="0"/>
              <c:layout>
                <c:manualLayout>
                  <c:x val="-3.3953986938483886E-2"/>
                  <c:y val="-0.10859581539586834"/>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dLbl>
              <c:idx val="1"/>
              <c:layout>
                <c:manualLayout>
                  <c:x val="8.1411988357032422E-2"/>
                  <c:y val="0.10179308021229244"/>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dLbl>
              <c:idx val="2"/>
              <c:layout>
                <c:manualLayout>
                  <c:x val="-4.6984167328198934E-2"/>
                  <c:y val="1.7122110806923687E-2"/>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PI-3'!$A$5:$A$8</c:f>
              <c:strCache>
                <c:ptCount val="3"/>
                <c:pt idx="0">
                  <c:v>DAVITA</c:v>
                </c:pt>
                <c:pt idx="1">
                  <c:v>FRESENIUS MEDICAL CARE</c:v>
                </c:pt>
                <c:pt idx="2">
                  <c:v>INDEPENDENT</c:v>
                </c:pt>
              </c:strCache>
            </c:strRef>
          </c:cat>
          <c:val>
            <c:numRef>
              <c:f>'KPI-3'!$B$5:$B$8</c:f>
              <c:numCache>
                <c:formatCode>General</c:formatCode>
                <c:ptCount val="3"/>
                <c:pt idx="0">
                  <c:v>50102</c:v>
                </c:pt>
                <c:pt idx="1">
                  <c:v>49135</c:v>
                </c:pt>
                <c:pt idx="2">
                  <c:v>11739</c:v>
                </c:pt>
              </c:numCache>
            </c:numRef>
          </c:val>
          <c:extLst xmlns:c16r2="http://schemas.microsoft.com/office/drawing/2015/06/chart">
            <c:ext xmlns:c16="http://schemas.microsoft.com/office/drawing/2014/chart" uri="{C3380CC4-5D6E-409C-BE32-E72D297353CC}">
              <c16:uniqueId val="{00000006-4D78-4698-9AE0-562A30C110A1}"/>
            </c:ext>
          </c:extLst>
        </c:ser>
        <c:dLbls>
          <c:dLblPos val="inEnd"/>
          <c:showLegendKey val="0"/>
          <c:showVal val="0"/>
          <c:showCatName val="1"/>
          <c:showSerName val="0"/>
          <c:showPercent val="1"/>
          <c:showBubbleSize val="0"/>
          <c:showLeaderLines val="1"/>
        </c:dLbls>
        <c:firstSliceAng val="0"/>
      </c:pieChart>
      <c:spPr>
        <a:noFill/>
        <a:ln>
          <a:noFill/>
        </a:ln>
        <a:effectLst/>
      </c:spPr>
    </c:plotArea>
    <c:legend>
      <c:legendPos val="r"/>
      <c:layout>
        <c:manualLayout>
          <c:xMode val="edge"/>
          <c:yMode val="edge"/>
          <c:x val="0.66187397026420791"/>
          <c:y val="0.52578293942785392"/>
          <c:w val="0.29085743494054828"/>
          <c:h val="0.3446769857651144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4!PivotTable4</c:name>
    <c:fmtId val="-1"/>
  </c:pivotSource>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Dialysis Stations Stats</a:t>
            </a:r>
          </a:p>
        </c:rich>
      </c:tx>
      <c:layout>
        <c:manualLayout>
          <c:xMode val="edge"/>
          <c:yMode val="edge"/>
          <c:x val="0.16089621373714039"/>
          <c:y val="1.1984880091951791E-3"/>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circle"/>
          <c:size val="6"/>
          <c:spPr>
            <a:gradFill rotWithShape="1">
              <a:gsLst>
                <a:gs pos="0">
                  <a:schemeClr val="accent1">
                    <a:tint val="98000"/>
                    <a:lumMod val="114000"/>
                  </a:schemeClr>
                </a:gs>
                <a:gs pos="100000">
                  <a:schemeClr val="accent1">
                    <a:shade val="90000"/>
                    <a:lumMod val="84000"/>
                  </a:schemeClr>
                </a:gs>
              </a:gsLst>
              <a:lin ang="5400000" scaled="0"/>
            </a:gradFill>
            <a:ln w="9525">
              <a:solidFill>
                <a:schemeClr val="accent1"/>
              </a:solidFill>
              <a:round/>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circle"/>
          <c:size val="6"/>
          <c:spPr>
            <a:gradFill rotWithShape="1">
              <a:gsLst>
                <a:gs pos="0">
                  <a:schemeClr val="accent2">
                    <a:tint val="98000"/>
                    <a:lumMod val="114000"/>
                  </a:schemeClr>
                </a:gs>
                <a:gs pos="100000">
                  <a:schemeClr val="accent2">
                    <a:shade val="90000"/>
                    <a:lumMod val="84000"/>
                  </a:schemeClr>
                </a:gs>
              </a:gsLst>
              <a:lin ang="5400000" scaled="0"/>
            </a:gradFill>
            <a:ln w="9525">
              <a:solidFill>
                <a:schemeClr val="accent2"/>
              </a:solidFill>
              <a:round/>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6620046620046195E-3"/>
              <c:y val="-6.763304043516303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2372960372960374"/>
                  <c:h val="0.13541062801932366"/>
                </c:manualLayout>
              </c15:layout>
            </c:ext>
          </c:extLst>
        </c:dLbl>
      </c:pivotFmt>
      <c:pivotFmt>
        <c:idx val="3"/>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8648018648018648E-2"/>
              <c:y val="-0.10628000304309787"/>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3279720279720281"/>
                  <c:h val="0.12574879227053137"/>
                </c:manualLayout>
              </c15:layout>
            </c:ext>
          </c:extLst>
        </c:dLbl>
      </c:pivotFmt>
      <c:pivotFmt>
        <c:idx val="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4965034965034965E-3"/>
              <c:y val="7.487922705314009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2114219114219114"/>
                  <c:h val="7.2608695652173913E-2"/>
                </c:manualLayout>
              </c15:layout>
            </c:ext>
          </c:extLst>
        </c:dLbl>
      </c:pivotFmt>
      <c:pivotFmt>
        <c:idx val="5"/>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820512820512778E-2"/>
              <c:y val="-0.11835748792270531"/>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5843822843822844"/>
                  <c:h val="0.13057971014492753"/>
                </c:manualLayout>
              </c15:layout>
            </c:ext>
          </c:extLst>
        </c:dLbl>
      </c:pivotFmt>
      <c:pivotFmt>
        <c:idx val="6"/>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2.3310023310022456E-3"/>
              <c:y val="-0.11594202898550725"/>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4965034965034965E-3"/>
              <c:y val="7.487922705314009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2114219114219114"/>
                  <c:h val="7.2608695652173913E-2"/>
                </c:manualLayout>
              </c15:layout>
            </c:ext>
          </c:extLst>
        </c:dLbl>
      </c:pivotFmt>
      <c:pivotFmt>
        <c:idx val="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0"/>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8648018648018648E-2"/>
              <c:y val="-0.10628000304309787"/>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3279720279720281"/>
                  <c:h val="0.12574879227053137"/>
                </c:manualLayout>
              </c15:layout>
            </c:ext>
          </c:extLst>
        </c:dLbl>
      </c:pivotFmt>
      <c:pivotFmt>
        <c:idx val="11"/>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6620046620046195E-3"/>
              <c:y val="-6.763304043516303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2372960372960374"/>
                  <c:h val="0.13541062801932366"/>
                </c:manualLayout>
              </c15:layout>
            </c:ext>
          </c:extLst>
        </c:dLbl>
      </c:pivotFmt>
      <c:pivotFmt>
        <c:idx val="12"/>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820512820512778E-2"/>
              <c:y val="-0.11835748792270531"/>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5843822843822844"/>
                  <c:h val="0.13057971014492753"/>
                </c:manualLayout>
              </c15:layout>
            </c:ext>
          </c:extLst>
        </c:dLbl>
      </c:pivotFmt>
      <c:pivotFmt>
        <c:idx val="13"/>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2.3310023310022456E-3"/>
              <c:y val="-0.11594202898550725"/>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3.4965034965034965E-3"/>
              <c:y val="7.487922705314009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2114219114219114"/>
                  <c:h val="7.2608695652173913E-2"/>
                </c:manualLayout>
              </c15:layout>
            </c:ext>
          </c:extLst>
        </c:dLbl>
      </c:pivotFmt>
      <c:pivotFmt>
        <c:idx val="1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8648018648018648E-2"/>
              <c:y val="-0.10628000304309787"/>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3279720279720281"/>
                  <c:h val="0.12574879227053137"/>
                </c:manualLayout>
              </c15:layout>
            </c:ext>
          </c:extLst>
        </c:dLbl>
      </c:pivotFmt>
      <c:pivotFmt>
        <c:idx val="1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4.6620046620046195E-3"/>
              <c:y val="-6.7633040435163036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2372960372960374"/>
                  <c:h val="0.13541062801932366"/>
                </c:manualLayout>
              </c15:layout>
            </c:ext>
          </c:extLst>
        </c:dLbl>
      </c:pivotFmt>
      <c:pivotFmt>
        <c:idx val="1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1.2820512820512778E-2"/>
              <c:y val="-0.11835748792270531"/>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5843822843822844"/>
                  <c:h val="0.13057971014492753"/>
                </c:manualLayout>
              </c15:layout>
            </c:ext>
          </c:extLst>
        </c:dLbl>
      </c:pivotFmt>
      <c:pivotFmt>
        <c:idx val="2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2.3310023310022456E-3"/>
              <c:y val="-0.11594202898550725"/>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3"/>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2.3310023310022456E-3"/>
              <c:y val="-0.11594202898550725"/>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6"/>
        <c:spPr>
          <a:gradFill rotWithShape="1">
            <a:gsLst>
              <a:gs pos="0">
                <a:schemeClr val="accent2">
                  <a:tint val="98000"/>
                  <a:lumMod val="114000"/>
                </a:schemeClr>
              </a:gs>
              <a:gs pos="100000">
                <a:schemeClr val="accent2">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dLbl>
          <c:idx val="0"/>
          <c:layout>
            <c:manualLayout>
              <c:x val="2.3310023310022456E-3"/>
              <c:y val="-0.11594202898550725"/>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view3D>
      <c:rotX val="15"/>
      <c:rotY val="20"/>
      <c:depthPercent val="100"/>
      <c:rAngAx val="1"/>
    </c:view3D>
    <c:floor>
      <c:thickness val="0"/>
      <c:spPr>
        <a:noFill/>
        <a:ln w="25400">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5648734467632118E-2"/>
          <c:y val="2.714975845410628E-2"/>
          <c:w val="0.75518308463190353"/>
          <c:h val="0.6833173570694967"/>
        </c:manualLayout>
      </c:layout>
      <c:bar3DChart>
        <c:barDir val="col"/>
        <c:grouping val="stacked"/>
        <c:varyColors val="0"/>
        <c:ser>
          <c:idx val="0"/>
          <c:order val="0"/>
          <c:tx>
            <c:strRef>
              <c:f>'KPI-4'!$B$4:$B$5</c:f>
              <c:strCache>
                <c:ptCount val="1"/>
                <c:pt idx="0">
                  <c:v>Non-Profit</c:v>
                </c:pt>
              </c:strCache>
            </c:strRef>
          </c:tx>
          <c:spPr>
            <a:solidFill>
              <a:schemeClr val="accent1"/>
            </a:solidFill>
            <a:ln>
              <a:noFill/>
            </a:ln>
            <a:effectLst/>
            <a:sp3d/>
          </c:spPr>
          <c:invertIfNegative val="0"/>
          <c:dPt>
            <c:idx val="1"/>
            <c:invertIfNegative val="0"/>
            <c:bubble3D val="0"/>
            <c:extLst xmlns:c16r2="http://schemas.microsoft.com/office/drawing/2015/06/chart">
              <c:ext xmlns:c16="http://schemas.microsoft.com/office/drawing/2014/chart" uri="{C3380CC4-5D6E-409C-BE32-E72D297353CC}">
                <c16:uniqueId val="{00000000-AEB2-49BF-8D68-450FE006F828}"/>
              </c:ext>
            </c:extLst>
          </c:dPt>
          <c:dLbls>
            <c:spPr>
              <a:noFill/>
              <a:ln>
                <a:noFill/>
              </a:ln>
              <a:effectLst/>
            </c:spPr>
            <c:txPr>
              <a:bodyPr rot="0" spcFirstLastPara="1" vertOverflow="ellipsis" vert="horz" wrap="square" lIns="38100" tIns="19050" rIns="38100" bIns="19050" anchor="ctr" anchorCtr="1">
                <a:spAutoFit/>
              </a:bodyPr>
              <a:lstStyle/>
              <a:p>
                <a:pPr>
                  <a:defRPr sz="1064"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KPI-4'!$A$6:$A$11</c:f>
              <c:strCache>
                <c:ptCount val="5"/>
                <c:pt idx="0">
                  <c:v>DAVITA ST. JOSEPH'S PATERSON DIALYSIS</c:v>
                </c:pt>
                <c:pt idx="1">
                  <c:v>HATTIESBURG CLINIC DIALYSIS</c:v>
                </c:pt>
                <c:pt idx="2">
                  <c:v>KIDNEY CENTER OF MISSIONARY RIDGE, LLC</c:v>
                </c:pt>
                <c:pt idx="3">
                  <c:v>SATELLITE HEALTHCARE CENTRAL STATES LLC</c:v>
                </c:pt>
                <c:pt idx="4">
                  <c:v>SATELLITE HEALTHCARE INC</c:v>
                </c:pt>
              </c:strCache>
            </c:strRef>
          </c:cat>
          <c:val>
            <c:numRef>
              <c:f>'KPI-4'!$B$6:$B$11</c:f>
              <c:numCache>
                <c:formatCode>General</c:formatCode>
                <c:ptCount val="5"/>
                <c:pt idx="4">
                  <c:v>182</c:v>
                </c:pt>
              </c:numCache>
            </c:numRef>
          </c:val>
          <c:extLst xmlns:c16r2="http://schemas.microsoft.com/office/drawing/2015/06/chart">
            <c:ext xmlns:c16="http://schemas.microsoft.com/office/drawing/2014/chart" uri="{C3380CC4-5D6E-409C-BE32-E72D297353CC}">
              <c16:uniqueId val="{00000001-AEB2-49BF-8D68-450FE006F828}"/>
            </c:ext>
          </c:extLst>
        </c:ser>
        <c:ser>
          <c:idx val="1"/>
          <c:order val="1"/>
          <c:tx>
            <c:strRef>
              <c:f>'KPI-4'!$C$4:$C$5</c:f>
              <c:strCache>
                <c:ptCount val="1"/>
                <c:pt idx="0">
                  <c:v>Profit</c:v>
                </c:pt>
              </c:strCache>
            </c:strRef>
          </c:tx>
          <c:spPr>
            <a:solidFill>
              <a:schemeClr val="accent2"/>
            </a:solidFill>
            <a:ln>
              <a:noFill/>
            </a:ln>
            <a:effectLst/>
            <a:sp3d/>
          </c:spPr>
          <c:invertIfNegative val="0"/>
          <c:dPt>
            <c:idx val="0"/>
            <c:invertIfNegative val="0"/>
            <c:bubble3D val="0"/>
            <c:extLst xmlns:c16r2="http://schemas.microsoft.com/office/drawing/2015/06/chart">
              <c:ext xmlns:c16="http://schemas.microsoft.com/office/drawing/2014/chart" uri="{C3380CC4-5D6E-409C-BE32-E72D297353CC}">
                <c16:uniqueId val="{00000002-AEB2-49BF-8D68-450FE006F828}"/>
              </c:ext>
            </c:extLst>
          </c:dPt>
          <c:dPt>
            <c:idx val="1"/>
            <c:invertIfNegative val="0"/>
            <c:bubble3D val="0"/>
            <c:extLst xmlns:c16r2="http://schemas.microsoft.com/office/drawing/2015/06/chart">
              <c:ext xmlns:c16="http://schemas.microsoft.com/office/drawing/2014/chart" uri="{C3380CC4-5D6E-409C-BE32-E72D297353CC}">
                <c16:uniqueId val="{00000003-AEB2-49BF-8D68-450FE006F828}"/>
              </c:ext>
            </c:extLst>
          </c:dPt>
          <c:dPt>
            <c:idx val="2"/>
            <c:invertIfNegative val="0"/>
            <c:bubble3D val="0"/>
            <c:extLst xmlns:c16r2="http://schemas.microsoft.com/office/drawing/2015/06/chart">
              <c:ext xmlns:c16="http://schemas.microsoft.com/office/drawing/2014/chart" uri="{C3380CC4-5D6E-409C-BE32-E72D297353CC}">
                <c16:uniqueId val="{00000004-AEB2-49BF-8D68-450FE006F828}"/>
              </c:ext>
            </c:extLst>
          </c:dPt>
          <c:dPt>
            <c:idx val="3"/>
            <c:invertIfNegative val="0"/>
            <c:bubble3D val="0"/>
            <c:extLst xmlns:c16r2="http://schemas.microsoft.com/office/drawing/2015/06/chart">
              <c:ext xmlns:c16="http://schemas.microsoft.com/office/drawing/2014/chart" uri="{C3380CC4-5D6E-409C-BE32-E72D297353CC}">
                <c16:uniqueId val="{00000005-AEB2-49BF-8D68-450FE006F828}"/>
              </c:ext>
            </c:extLst>
          </c:dPt>
          <c:dLbls>
            <c:spPr>
              <a:noFill/>
              <a:ln>
                <a:noFill/>
              </a:ln>
              <a:effectLst/>
            </c:spPr>
            <c:txPr>
              <a:bodyPr rot="0" spcFirstLastPara="1" vertOverflow="ellipsis" vert="horz" wrap="square" lIns="38100" tIns="19050" rIns="38100" bIns="19050" anchor="ctr" anchorCtr="1">
                <a:spAutoFit/>
              </a:bodyPr>
              <a:lstStyle/>
              <a:p>
                <a:pPr>
                  <a:defRPr sz="1064"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KPI-4'!$A$6:$A$11</c:f>
              <c:strCache>
                <c:ptCount val="5"/>
                <c:pt idx="0">
                  <c:v>DAVITA ST. JOSEPH'S PATERSON DIALYSIS</c:v>
                </c:pt>
                <c:pt idx="1">
                  <c:v>HATTIESBURG CLINIC DIALYSIS</c:v>
                </c:pt>
                <c:pt idx="2">
                  <c:v>KIDNEY CENTER OF MISSIONARY RIDGE, LLC</c:v>
                </c:pt>
                <c:pt idx="3">
                  <c:v>SATELLITE HEALTHCARE CENTRAL STATES LLC</c:v>
                </c:pt>
                <c:pt idx="4">
                  <c:v>SATELLITE HEALTHCARE INC</c:v>
                </c:pt>
              </c:strCache>
            </c:strRef>
          </c:cat>
          <c:val>
            <c:numRef>
              <c:f>'KPI-4'!$C$6:$C$11</c:f>
              <c:numCache>
                <c:formatCode>General</c:formatCode>
                <c:ptCount val="5"/>
                <c:pt idx="0">
                  <c:v>60</c:v>
                </c:pt>
                <c:pt idx="1">
                  <c:v>60</c:v>
                </c:pt>
                <c:pt idx="2">
                  <c:v>71</c:v>
                </c:pt>
                <c:pt idx="3">
                  <c:v>131</c:v>
                </c:pt>
              </c:numCache>
            </c:numRef>
          </c:val>
          <c:extLst xmlns:c16r2="http://schemas.microsoft.com/office/drawing/2015/06/chart">
            <c:ext xmlns:c16="http://schemas.microsoft.com/office/drawing/2014/chart" uri="{C3380CC4-5D6E-409C-BE32-E72D297353CC}">
              <c16:uniqueId val="{00000006-AEB2-49BF-8D68-450FE006F828}"/>
            </c:ext>
          </c:extLst>
        </c:ser>
        <c:dLbls>
          <c:showLegendKey val="0"/>
          <c:showVal val="1"/>
          <c:showCatName val="0"/>
          <c:showSerName val="0"/>
          <c:showPercent val="0"/>
          <c:showBubbleSize val="0"/>
        </c:dLbls>
        <c:gapWidth val="79"/>
        <c:shape val="box"/>
        <c:axId val="371992280"/>
        <c:axId val="371996984"/>
        <c:axId val="0"/>
      </c:bar3DChart>
      <c:catAx>
        <c:axId val="371992280"/>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371996984"/>
        <c:crosses val="autoZero"/>
        <c:auto val="1"/>
        <c:lblAlgn val="ctr"/>
        <c:lblOffset val="100"/>
        <c:noMultiLvlLbl val="0"/>
      </c:catAx>
      <c:valAx>
        <c:axId val="371996984"/>
        <c:scaling>
          <c:orientation val="minMax"/>
        </c:scaling>
        <c:delete val="1"/>
        <c:axPos val="l"/>
        <c:numFmt formatCode="General" sourceLinked="1"/>
        <c:majorTickMark val="none"/>
        <c:minorTickMark val="none"/>
        <c:tickLblPos val="nextTo"/>
        <c:crossAx val="371992280"/>
        <c:crosses val="autoZero"/>
        <c:crossBetween val="between"/>
      </c:valAx>
      <c:spPr>
        <a:noFill/>
        <a:ln w="25400">
          <a:noFill/>
        </a:ln>
        <a:effectLst/>
      </c:spPr>
    </c:plotArea>
    <c:legend>
      <c:legendPos val="r"/>
      <c:layout>
        <c:manualLayout>
          <c:xMode val="edge"/>
          <c:yMode val="edge"/>
          <c:x val="5.6362988949921415E-2"/>
          <c:y val="0.1489174015681535"/>
          <c:w val="0.20822597498117459"/>
          <c:h val="9.77644211191944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 -5!PivotTable5</c:name>
    <c:fmtId val="-1"/>
  </c:pivotSource>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No of Category Text - As Expected</a:t>
            </a: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plotArea>
      <c:layout>
        <c:manualLayout>
          <c:layoutTarget val="inner"/>
          <c:xMode val="edge"/>
          <c:yMode val="edge"/>
          <c:x val="0"/>
          <c:y val="0.16564596092155148"/>
          <c:w val="0.69421569795707172"/>
          <c:h val="0.75010279965004378"/>
        </c:manualLayout>
      </c:layout>
      <c:barChart>
        <c:barDir val="col"/>
        <c:grouping val="clustered"/>
        <c:varyColors val="0"/>
        <c:ser>
          <c:idx val="0"/>
          <c:order val="0"/>
          <c:tx>
            <c:strRef>
              <c:f>'KPI -5'!$A$5</c:f>
              <c:strCache>
                <c:ptCount val="1"/>
                <c:pt idx="0">
                  <c:v>Fistul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A$6</c:f>
              <c:numCache>
                <c:formatCode>General</c:formatCode>
                <c:ptCount val="1"/>
                <c:pt idx="0">
                  <c:v>1801</c:v>
                </c:pt>
              </c:numCache>
            </c:numRef>
          </c:val>
          <c:extLst xmlns:c16r2="http://schemas.microsoft.com/office/drawing/2015/06/chart">
            <c:ext xmlns:c16="http://schemas.microsoft.com/office/drawing/2014/chart" uri="{C3380CC4-5D6E-409C-BE32-E72D297353CC}">
              <c16:uniqueId val="{00000000-E83D-4BBB-AD3A-2728F2922430}"/>
            </c:ext>
          </c:extLst>
        </c:ser>
        <c:ser>
          <c:idx val="1"/>
          <c:order val="1"/>
          <c:tx>
            <c:strRef>
              <c:f>'KPI -5'!$B$5</c:f>
              <c:strCache>
                <c:ptCount val="1"/>
                <c:pt idx="0">
                  <c:v>Patient hospitalizat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B$6</c:f>
              <c:numCache>
                <c:formatCode>General</c:formatCode>
                <c:ptCount val="1"/>
                <c:pt idx="0">
                  <c:v>1984</c:v>
                </c:pt>
              </c:numCache>
            </c:numRef>
          </c:val>
          <c:extLst xmlns:c16r2="http://schemas.microsoft.com/office/drawing/2015/06/chart">
            <c:ext xmlns:c16="http://schemas.microsoft.com/office/drawing/2014/chart" uri="{C3380CC4-5D6E-409C-BE32-E72D297353CC}">
              <c16:uniqueId val="{00000001-E83D-4BBB-AD3A-2728F2922430}"/>
            </c:ext>
          </c:extLst>
        </c:ser>
        <c:ser>
          <c:idx val="2"/>
          <c:order val="2"/>
          <c:tx>
            <c:strRef>
              <c:f>'KPI -5'!$C$5</c:f>
              <c:strCache>
                <c:ptCount val="1"/>
                <c:pt idx="0">
                  <c:v>Patient Infect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C$6</c:f>
              <c:numCache>
                <c:formatCode>General</c:formatCode>
                <c:ptCount val="1"/>
                <c:pt idx="0">
                  <c:v>1618</c:v>
                </c:pt>
              </c:numCache>
            </c:numRef>
          </c:val>
          <c:extLst xmlns:c16r2="http://schemas.microsoft.com/office/drawing/2015/06/chart">
            <c:ext xmlns:c16="http://schemas.microsoft.com/office/drawing/2014/chart" uri="{C3380CC4-5D6E-409C-BE32-E72D297353CC}">
              <c16:uniqueId val="{00000002-E83D-4BBB-AD3A-2728F2922430}"/>
            </c:ext>
          </c:extLst>
        </c:ser>
        <c:ser>
          <c:idx val="3"/>
          <c:order val="3"/>
          <c:tx>
            <c:strRef>
              <c:f>'KPI -5'!$D$5</c:f>
              <c:strCache>
                <c:ptCount val="1"/>
                <c:pt idx="0">
                  <c:v>Patient Surviv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D$6</c:f>
              <c:numCache>
                <c:formatCode>General</c:formatCode>
                <c:ptCount val="1"/>
                <c:pt idx="0">
                  <c:v>1688</c:v>
                </c:pt>
              </c:numCache>
            </c:numRef>
          </c:val>
          <c:extLst xmlns:c16r2="http://schemas.microsoft.com/office/drawing/2015/06/chart">
            <c:ext xmlns:c16="http://schemas.microsoft.com/office/drawing/2014/chart" uri="{C3380CC4-5D6E-409C-BE32-E72D297353CC}">
              <c16:uniqueId val="{00000003-E83D-4BBB-AD3A-2728F2922430}"/>
            </c:ext>
          </c:extLst>
        </c:ser>
        <c:ser>
          <c:idx val="4"/>
          <c:order val="4"/>
          <c:tx>
            <c:strRef>
              <c:f>'KPI -5'!$E$5</c:f>
              <c:strCache>
                <c:ptCount val="1"/>
                <c:pt idx="0">
                  <c:v>Patient Transfusion</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E$6</c:f>
              <c:numCache>
                <c:formatCode>General</c:formatCode>
                <c:ptCount val="1"/>
                <c:pt idx="0">
                  <c:v>1852</c:v>
                </c:pt>
              </c:numCache>
            </c:numRef>
          </c:val>
          <c:extLst xmlns:c16r2="http://schemas.microsoft.com/office/drawing/2015/06/chart">
            <c:ext xmlns:c16="http://schemas.microsoft.com/office/drawing/2014/chart" uri="{C3380CC4-5D6E-409C-BE32-E72D297353CC}">
              <c16:uniqueId val="{00000004-E83D-4BBB-AD3A-2728F2922430}"/>
            </c:ext>
          </c:extLst>
        </c:ser>
        <c:ser>
          <c:idx val="5"/>
          <c:order val="5"/>
          <c:tx>
            <c:strRef>
              <c:f>'KPI -5'!$F$5</c:f>
              <c:strCache>
                <c:ptCount val="1"/>
                <c:pt idx="0">
                  <c:v>PPPW</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F$6</c:f>
              <c:numCache>
                <c:formatCode>General</c:formatCode>
                <c:ptCount val="1"/>
                <c:pt idx="0">
                  <c:v>1871</c:v>
                </c:pt>
              </c:numCache>
            </c:numRef>
          </c:val>
          <c:extLst xmlns:c16r2="http://schemas.microsoft.com/office/drawing/2015/06/chart">
            <c:ext xmlns:c16="http://schemas.microsoft.com/office/drawing/2014/chart" uri="{C3380CC4-5D6E-409C-BE32-E72D297353CC}">
              <c16:uniqueId val="{00000005-E83D-4BBB-AD3A-2728F2922430}"/>
            </c:ext>
          </c:extLst>
        </c:ser>
        <c:ser>
          <c:idx val="6"/>
          <c:order val="6"/>
          <c:tx>
            <c:strRef>
              <c:f>'KPI -5'!$G$5</c:f>
              <c:strCache>
                <c:ptCount val="1"/>
                <c:pt idx="0">
                  <c:v>SWR</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 -5'!$A$6</c:f>
              <c:strCache>
                <c:ptCount val="1"/>
                <c:pt idx="0">
                  <c:v>Total</c:v>
                </c:pt>
              </c:strCache>
            </c:strRef>
          </c:cat>
          <c:val>
            <c:numRef>
              <c:f>'KPI -5'!$G$6</c:f>
              <c:numCache>
                <c:formatCode>General</c:formatCode>
                <c:ptCount val="1"/>
                <c:pt idx="0">
                  <c:v>865</c:v>
                </c:pt>
              </c:numCache>
            </c:numRef>
          </c:val>
          <c:extLst xmlns:c16r2="http://schemas.microsoft.com/office/drawing/2015/06/chart">
            <c:ext xmlns:c16="http://schemas.microsoft.com/office/drawing/2014/chart" uri="{C3380CC4-5D6E-409C-BE32-E72D297353CC}">
              <c16:uniqueId val="{00000006-E83D-4BBB-AD3A-2728F2922430}"/>
            </c:ext>
          </c:extLst>
        </c:ser>
        <c:dLbls>
          <c:dLblPos val="outEnd"/>
          <c:showLegendKey val="0"/>
          <c:showVal val="1"/>
          <c:showCatName val="0"/>
          <c:showSerName val="0"/>
          <c:showPercent val="0"/>
          <c:showBubbleSize val="0"/>
        </c:dLbls>
        <c:gapWidth val="219"/>
        <c:overlap val="-27"/>
        <c:axId val="299395000"/>
        <c:axId val="299387944"/>
      </c:barChart>
      <c:catAx>
        <c:axId val="299395000"/>
        <c:scaling>
          <c:orientation val="minMax"/>
        </c:scaling>
        <c:delete val="1"/>
        <c:axPos val="b"/>
        <c:numFmt formatCode="General" sourceLinked="1"/>
        <c:majorTickMark val="none"/>
        <c:minorTickMark val="none"/>
        <c:tickLblPos val="nextTo"/>
        <c:crossAx val="299387944"/>
        <c:crosses val="autoZero"/>
        <c:auto val="1"/>
        <c:lblAlgn val="ctr"/>
        <c:lblOffset val="100"/>
        <c:noMultiLvlLbl val="0"/>
      </c:catAx>
      <c:valAx>
        <c:axId val="299387944"/>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29939500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6!PivotTable6</c:name>
    <c:fmtId val="-1"/>
  </c:pivotSource>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No of Score Applied - Improvement </a:t>
            </a:r>
          </a:p>
        </c:rich>
      </c:tx>
      <c:layout>
        <c:manualLayout>
          <c:xMode val="edge"/>
          <c:yMode val="edge"/>
          <c:x val="0.22398736666237617"/>
          <c:y val="1.471746522757411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w="9525">
              <a:solidFill>
                <a:schemeClr val="accent3"/>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w="9525">
              <a:solidFill>
                <a:schemeClr val="accent4"/>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w="9525">
              <a:solidFill>
                <a:schemeClr val="accent5"/>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w="9525">
              <a:solidFill>
                <a:schemeClr val="accent1">
                  <a:lumMod val="6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w="9525">
              <a:solidFill>
                <a:schemeClr val="accent2">
                  <a:lumMod val="6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w="9525">
              <a:solidFill>
                <a:schemeClr val="accent3">
                  <a:lumMod val="6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w="9525">
              <a:solidFill>
                <a:schemeClr val="accent4">
                  <a:lumMod val="6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w="9525">
              <a:solidFill>
                <a:schemeClr val="accent5">
                  <a:lumMod val="6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w="9525">
              <a:solidFill>
                <a:schemeClr val="accent6">
                  <a:lumMod val="6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1">
                    <a:lumMod val="80000"/>
                    <a:lumOff val="20000"/>
                    <a:satMod val="103000"/>
                    <a:lumMod val="102000"/>
                    <a:tint val="94000"/>
                  </a:schemeClr>
                </a:gs>
                <a:gs pos="50000">
                  <a:schemeClr val="accent1">
                    <a:lumMod val="80000"/>
                    <a:lumOff val="20000"/>
                    <a:satMod val="110000"/>
                    <a:lumMod val="100000"/>
                    <a:shade val="100000"/>
                  </a:schemeClr>
                </a:gs>
                <a:gs pos="100000">
                  <a:schemeClr val="accent1">
                    <a:lumMod val="80000"/>
                    <a:lumOff val="20000"/>
                    <a:lumMod val="99000"/>
                    <a:satMod val="120000"/>
                    <a:shade val="78000"/>
                  </a:schemeClr>
                </a:gs>
              </a:gsLst>
              <a:lin ang="5400000" scaled="0"/>
            </a:gradFill>
            <a:ln w="9525">
              <a:solidFill>
                <a:schemeClr val="accent1">
                  <a:lumMod val="80000"/>
                  <a:lumOff val="2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circle"/>
          <c:size val="6"/>
          <c:spPr>
            <a:gradFill rotWithShape="1">
              <a:gsLst>
                <a:gs pos="0">
                  <a:schemeClr val="accent2">
                    <a:lumMod val="80000"/>
                    <a:lumOff val="20000"/>
                    <a:satMod val="103000"/>
                    <a:lumMod val="102000"/>
                    <a:tint val="94000"/>
                  </a:schemeClr>
                </a:gs>
                <a:gs pos="50000">
                  <a:schemeClr val="accent2">
                    <a:lumMod val="80000"/>
                    <a:lumOff val="20000"/>
                    <a:satMod val="110000"/>
                    <a:lumMod val="100000"/>
                    <a:shade val="100000"/>
                  </a:schemeClr>
                </a:gs>
                <a:gs pos="100000">
                  <a:schemeClr val="accent2">
                    <a:lumMod val="80000"/>
                    <a:lumOff val="20000"/>
                    <a:lumMod val="99000"/>
                    <a:satMod val="120000"/>
                    <a:shade val="78000"/>
                  </a:schemeClr>
                </a:gs>
              </a:gsLst>
              <a:lin ang="5400000" scaled="0"/>
            </a:gradFill>
            <a:ln w="9525">
              <a:solidFill>
                <a:schemeClr val="accent2">
                  <a:lumMod val="80000"/>
                  <a:lumOff val="20000"/>
                </a:schemeClr>
              </a:solidFill>
              <a:round/>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0"/>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1"/>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2"/>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3"/>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4"/>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5"/>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6"/>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7"/>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8"/>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69"/>
        <c:spPr>
          <a:gradFill rotWithShape="1">
            <a:gsLst>
              <a:gs pos="0">
                <a:schemeClr val="accent1">
                  <a:tint val="98000"/>
                  <a:lumMod val="114000"/>
                </a:schemeClr>
              </a:gs>
              <a:gs pos="100000">
                <a:schemeClr val="accent1">
                  <a:shade val="90000"/>
                  <a:lumMod val="84000"/>
                </a:schemeClr>
              </a:gs>
            </a:gsLst>
            <a:lin ang="5400000" scaled="0"/>
          </a:gradFill>
          <a:ln>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9914698162729664E-2"/>
          <c:y val="0.16564596092155148"/>
          <c:w val="0.54049693788276465"/>
          <c:h val="0.75010279965004378"/>
        </c:manualLayout>
      </c:layout>
      <c:bar3DChart>
        <c:barDir val="bar"/>
        <c:grouping val="clustered"/>
        <c:varyColors val="0"/>
        <c:ser>
          <c:idx val="0"/>
          <c:order val="0"/>
          <c:tx>
            <c:strRef>
              <c:f>'KPI-6'!$A$5</c:f>
              <c:strCache>
                <c:ptCount val="1"/>
                <c:pt idx="0">
                  <c:v>VAT Catheter Measure</c:v>
                </c:pt>
              </c:strCache>
            </c:strRef>
          </c:tx>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A$6</c:f>
              <c:numCache>
                <c:formatCode>General</c:formatCode>
                <c:ptCount val="1"/>
                <c:pt idx="0">
                  <c:v>322</c:v>
                </c:pt>
              </c:numCache>
            </c:numRef>
          </c:val>
          <c:extLst xmlns:c16r2="http://schemas.microsoft.com/office/drawing/2015/06/chart">
            <c:ext xmlns:c16="http://schemas.microsoft.com/office/drawing/2014/chart" uri="{C3380CC4-5D6E-409C-BE32-E72D297353CC}">
              <c16:uniqueId val="{00000000-1FD3-4181-87BC-553608DB0854}"/>
            </c:ext>
          </c:extLst>
        </c:ser>
        <c:ser>
          <c:idx val="1"/>
          <c:order val="1"/>
          <c:tx>
            <c:strRef>
              <c:f>'KPI-6'!$B$5</c:f>
              <c:strCache>
                <c:ptCount val="1"/>
                <c:pt idx="0">
                  <c:v>Fistula Measure</c:v>
                </c:pt>
              </c:strCache>
            </c:strRef>
          </c:tx>
          <c:spPr>
            <a:solidFill>
              <a:schemeClr val="accent2"/>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B$6</c:f>
              <c:numCache>
                <c:formatCode>General</c:formatCode>
                <c:ptCount val="1"/>
                <c:pt idx="0">
                  <c:v>241</c:v>
                </c:pt>
              </c:numCache>
            </c:numRef>
          </c:val>
          <c:extLst xmlns:c16r2="http://schemas.microsoft.com/office/drawing/2015/06/chart">
            <c:ext xmlns:c16="http://schemas.microsoft.com/office/drawing/2014/chart" uri="{C3380CC4-5D6E-409C-BE32-E72D297353CC}">
              <c16:uniqueId val="{00000001-1FD3-4181-87BC-553608DB0854}"/>
            </c:ext>
          </c:extLst>
        </c:ser>
        <c:ser>
          <c:idx val="2"/>
          <c:order val="2"/>
          <c:tx>
            <c:strRef>
              <c:f>'KPI-6'!$C$5</c:f>
              <c:strCache>
                <c:ptCount val="1"/>
                <c:pt idx="0">
                  <c:v>Hypercalcemia</c:v>
                </c:pt>
              </c:strCache>
            </c:strRef>
          </c:tx>
          <c:spPr>
            <a:solidFill>
              <a:schemeClr val="accent3"/>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C$6</c:f>
              <c:numCache>
                <c:formatCode>General</c:formatCode>
                <c:ptCount val="1"/>
                <c:pt idx="0">
                  <c:v>319</c:v>
                </c:pt>
              </c:numCache>
            </c:numRef>
          </c:val>
          <c:extLst xmlns:c16r2="http://schemas.microsoft.com/office/drawing/2015/06/chart">
            <c:ext xmlns:c16="http://schemas.microsoft.com/office/drawing/2014/chart" uri="{C3380CC4-5D6E-409C-BE32-E72D297353CC}">
              <c16:uniqueId val="{00000002-1FD3-4181-87BC-553608DB0854}"/>
            </c:ext>
          </c:extLst>
        </c:ser>
        <c:ser>
          <c:idx val="3"/>
          <c:order val="3"/>
          <c:tx>
            <c:strRef>
              <c:f>'KPI-6'!$D$5</c:f>
              <c:strCache>
                <c:ptCount val="1"/>
                <c:pt idx="0">
                  <c:v>STrR</c:v>
                </c:pt>
              </c:strCache>
            </c:strRef>
          </c:tx>
          <c:spPr>
            <a:solidFill>
              <a:schemeClr val="accent4"/>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D$6</c:f>
              <c:numCache>
                <c:formatCode>General</c:formatCode>
                <c:ptCount val="1"/>
                <c:pt idx="0">
                  <c:v>467</c:v>
                </c:pt>
              </c:numCache>
            </c:numRef>
          </c:val>
          <c:extLst xmlns:c16r2="http://schemas.microsoft.com/office/drawing/2015/06/chart">
            <c:ext xmlns:c16="http://schemas.microsoft.com/office/drawing/2014/chart" uri="{C3380CC4-5D6E-409C-BE32-E72D297353CC}">
              <c16:uniqueId val="{00000003-1FD3-4181-87BC-553608DB0854}"/>
            </c:ext>
          </c:extLst>
        </c:ser>
        <c:ser>
          <c:idx val="4"/>
          <c:order val="4"/>
          <c:tx>
            <c:strRef>
              <c:f>'KPI-6'!$E$5</c:f>
              <c:strCache>
                <c:ptCount val="1"/>
                <c:pt idx="0">
                  <c:v>SRR</c:v>
                </c:pt>
              </c:strCache>
            </c:strRef>
          </c:tx>
          <c:spPr>
            <a:solidFill>
              <a:schemeClr val="accent5"/>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E$6</c:f>
              <c:numCache>
                <c:formatCode>General</c:formatCode>
                <c:ptCount val="1"/>
                <c:pt idx="0">
                  <c:v>301</c:v>
                </c:pt>
              </c:numCache>
            </c:numRef>
          </c:val>
          <c:extLst xmlns:c16r2="http://schemas.microsoft.com/office/drawing/2015/06/chart">
            <c:ext xmlns:c16="http://schemas.microsoft.com/office/drawing/2014/chart" uri="{C3380CC4-5D6E-409C-BE32-E72D297353CC}">
              <c16:uniqueId val="{00000004-1FD3-4181-87BC-553608DB0854}"/>
            </c:ext>
          </c:extLst>
        </c:ser>
        <c:ser>
          <c:idx val="5"/>
          <c:order val="5"/>
          <c:tx>
            <c:strRef>
              <c:f>'KPI-6'!$F$5</c:f>
              <c:strCache>
                <c:ptCount val="1"/>
                <c:pt idx="0">
                  <c:v>SHR</c:v>
                </c:pt>
              </c:strCache>
            </c:strRef>
          </c:tx>
          <c:spPr>
            <a:solidFill>
              <a:schemeClr val="accent6"/>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F$6</c:f>
              <c:numCache>
                <c:formatCode>General</c:formatCode>
                <c:ptCount val="1"/>
                <c:pt idx="0">
                  <c:v>384</c:v>
                </c:pt>
              </c:numCache>
            </c:numRef>
          </c:val>
          <c:extLst xmlns:c16r2="http://schemas.microsoft.com/office/drawing/2015/06/chart">
            <c:ext xmlns:c16="http://schemas.microsoft.com/office/drawing/2014/chart" uri="{C3380CC4-5D6E-409C-BE32-E72D297353CC}">
              <c16:uniqueId val="{00000005-1FD3-4181-87BC-553608DB0854}"/>
            </c:ext>
          </c:extLst>
        </c:ser>
        <c:ser>
          <c:idx val="6"/>
          <c:order val="6"/>
          <c:tx>
            <c:strRef>
              <c:f>'KPI-6'!$G$5</c:f>
              <c:strCache>
                <c:ptCount val="1"/>
                <c:pt idx="0">
                  <c:v>NHSN BSI</c:v>
                </c:pt>
              </c:strCache>
            </c:strRef>
          </c:tx>
          <c:spPr>
            <a:solidFill>
              <a:schemeClr val="accent1">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G$6</c:f>
              <c:numCache>
                <c:formatCode>General</c:formatCode>
                <c:ptCount val="1"/>
                <c:pt idx="0">
                  <c:v>310</c:v>
                </c:pt>
              </c:numCache>
            </c:numRef>
          </c:val>
          <c:extLst xmlns:c16r2="http://schemas.microsoft.com/office/drawing/2015/06/chart">
            <c:ext xmlns:c16="http://schemas.microsoft.com/office/drawing/2014/chart" uri="{C3380CC4-5D6E-409C-BE32-E72D297353CC}">
              <c16:uniqueId val="{00000006-1FD3-4181-87BC-553608DB0854}"/>
            </c:ext>
          </c:extLst>
        </c:ser>
        <c:ser>
          <c:idx val="7"/>
          <c:order val="7"/>
          <c:tx>
            <c:strRef>
              <c:f>'KPI-6'!$H$5</c:f>
              <c:strCache>
                <c:ptCount val="1"/>
                <c:pt idx="0">
                  <c:v>Kt/V Comprehensive</c:v>
                </c:pt>
              </c:strCache>
            </c:strRef>
          </c:tx>
          <c:spPr>
            <a:solidFill>
              <a:schemeClr val="accent2">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H$6</c:f>
              <c:numCache>
                <c:formatCode>General</c:formatCode>
                <c:ptCount val="1"/>
                <c:pt idx="0">
                  <c:v>350</c:v>
                </c:pt>
              </c:numCache>
            </c:numRef>
          </c:val>
          <c:extLst xmlns:c16r2="http://schemas.microsoft.com/office/drawing/2015/06/chart">
            <c:ext xmlns:c16="http://schemas.microsoft.com/office/drawing/2014/chart" uri="{C3380CC4-5D6E-409C-BE32-E72D297353CC}">
              <c16:uniqueId val="{00000007-1FD3-4181-87BC-553608DB0854}"/>
            </c:ext>
          </c:extLst>
        </c:ser>
        <c:ser>
          <c:idx val="8"/>
          <c:order val="8"/>
          <c:tx>
            <c:strRef>
              <c:f>'KPI-6'!$I$5</c:f>
              <c:strCache>
                <c:ptCount val="1"/>
                <c:pt idx="0">
                  <c:v>ICH CAHPS Neph_comm_caring</c:v>
                </c:pt>
              </c:strCache>
            </c:strRef>
          </c:tx>
          <c:spPr>
            <a:solidFill>
              <a:schemeClr val="accent3">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I$6</c:f>
              <c:numCache>
                <c:formatCode>General</c:formatCode>
                <c:ptCount val="1"/>
                <c:pt idx="0">
                  <c:v>124</c:v>
                </c:pt>
              </c:numCache>
            </c:numRef>
          </c:val>
          <c:extLst xmlns:c16r2="http://schemas.microsoft.com/office/drawing/2015/06/chart">
            <c:ext xmlns:c16="http://schemas.microsoft.com/office/drawing/2014/chart" uri="{C3380CC4-5D6E-409C-BE32-E72D297353CC}">
              <c16:uniqueId val="{00000008-1FD3-4181-87BC-553608DB0854}"/>
            </c:ext>
          </c:extLst>
        </c:ser>
        <c:ser>
          <c:idx val="9"/>
          <c:order val="9"/>
          <c:tx>
            <c:strRef>
              <c:f>'KPI-6'!$J$5</c:f>
              <c:strCache>
                <c:ptCount val="1"/>
                <c:pt idx="0">
                  <c:v>ICH CAHPS Dialysis</c:v>
                </c:pt>
              </c:strCache>
            </c:strRef>
          </c:tx>
          <c:spPr>
            <a:solidFill>
              <a:schemeClr val="accent4">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J$6</c:f>
              <c:numCache>
                <c:formatCode>General</c:formatCode>
                <c:ptCount val="1"/>
                <c:pt idx="0">
                  <c:v>103</c:v>
                </c:pt>
              </c:numCache>
            </c:numRef>
          </c:val>
          <c:extLst xmlns:c16r2="http://schemas.microsoft.com/office/drawing/2015/06/chart">
            <c:ext xmlns:c16="http://schemas.microsoft.com/office/drawing/2014/chart" uri="{C3380CC4-5D6E-409C-BE32-E72D297353CC}">
              <c16:uniqueId val="{00000009-1FD3-4181-87BC-553608DB0854}"/>
            </c:ext>
          </c:extLst>
        </c:ser>
        <c:ser>
          <c:idx val="10"/>
          <c:order val="10"/>
          <c:tx>
            <c:strRef>
              <c:f>'KPI-6'!$K$5</c:f>
              <c:strCache>
                <c:ptCount val="1"/>
                <c:pt idx="0">
                  <c:v>ICH CAHPS Staff</c:v>
                </c:pt>
              </c:strCache>
            </c:strRef>
          </c:tx>
          <c:spPr>
            <a:solidFill>
              <a:schemeClr val="accent5">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K$6</c:f>
              <c:numCache>
                <c:formatCode>General</c:formatCode>
                <c:ptCount val="1"/>
                <c:pt idx="0">
                  <c:v>120</c:v>
                </c:pt>
              </c:numCache>
            </c:numRef>
          </c:val>
          <c:extLst xmlns:c16r2="http://schemas.microsoft.com/office/drawing/2015/06/chart">
            <c:ext xmlns:c16="http://schemas.microsoft.com/office/drawing/2014/chart" uri="{C3380CC4-5D6E-409C-BE32-E72D297353CC}">
              <c16:uniqueId val="{0000000A-1FD3-4181-87BC-553608DB0854}"/>
            </c:ext>
          </c:extLst>
        </c:ser>
        <c:ser>
          <c:idx val="11"/>
          <c:order val="11"/>
          <c:tx>
            <c:strRef>
              <c:f>'KPI-6'!$L$5</c:f>
              <c:strCache>
                <c:ptCount val="1"/>
                <c:pt idx="0">
                  <c:v>ICH CAHPS Neph</c:v>
                </c:pt>
              </c:strCache>
            </c:strRef>
          </c:tx>
          <c:spPr>
            <a:solidFill>
              <a:schemeClr val="accent6">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L$6</c:f>
              <c:numCache>
                <c:formatCode>General</c:formatCode>
                <c:ptCount val="1"/>
                <c:pt idx="0">
                  <c:v>159</c:v>
                </c:pt>
              </c:numCache>
            </c:numRef>
          </c:val>
          <c:extLst xmlns:c16r2="http://schemas.microsoft.com/office/drawing/2015/06/chart">
            <c:ext xmlns:c16="http://schemas.microsoft.com/office/drawing/2014/chart" uri="{C3380CC4-5D6E-409C-BE32-E72D297353CC}">
              <c16:uniqueId val="{0000000B-1FD3-4181-87BC-553608DB0854}"/>
            </c:ext>
          </c:extLst>
        </c:ser>
        <c:ser>
          <c:idx val="12"/>
          <c:order val="12"/>
          <c:tx>
            <c:strRef>
              <c:f>'KPI-6'!$M$5</c:f>
              <c:strCache>
                <c:ptCount val="1"/>
                <c:pt idx="0">
                  <c:v>ICH CAHPS Patient</c:v>
                </c:pt>
              </c:strCache>
            </c:strRef>
          </c:tx>
          <c:spPr>
            <a:solidFill>
              <a:schemeClr val="accent1">
                <a:lumMod val="80000"/>
                <a:lumOff val="2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M$6</c:f>
              <c:numCache>
                <c:formatCode>General</c:formatCode>
                <c:ptCount val="1"/>
                <c:pt idx="0">
                  <c:v>116</c:v>
                </c:pt>
              </c:numCache>
            </c:numRef>
          </c:val>
          <c:extLst xmlns:c16r2="http://schemas.microsoft.com/office/drawing/2015/06/chart">
            <c:ext xmlns:c16="http://schemas.microsoft.com/office/drawing/2014/chart" uri="{C3380CC4-5D6E-409C-BE32-E72D297353CC}">
              <c16:uniqueId val="{0000000C-1FD3-4181-87BC-553608DB0854}"/>
            </c:ext>
          </c:extLst>
        </c:ser>
        <c:ser>
          <c:idx val="13"/>
          <c:order val="13"/>
          <c:tx>
            <c:strRef>
              <c:f>'KPI-6'!$N$5</c:f>
              <c:strCache>
                <c:ptCount val="1"/>
                <c:pt idx="0">
                  <c:v>ICH CAHPS CAre and Ops</c:v>
                </c:pt>
              </c:strCache>
            </c:strRef>
          </c:tx>
          <c:spPr>
            <a:solidFill>
              <a:schemeClr val="accent2">
                <a:lumMod val="80000"/>
                <a:lumOff val="2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KPI-6'!$A$6</c:f>
              <c:strCache>
                <c:ptCount val="1"/>
                <c:pt idx="0">
                  <c:v>Total</c:v>
                </c:pt>
              </c:strCache>
            </c:strRef>
          </c:cat>
          <c:val>
            <c:numRef>
              <c:f>'KPI-6'!$N$6</c:f>
              <c:numCache>
                <c:formatCode>General</c:formatCode>
                <c:ptCount val="1"/>
                <c:pt idx="0">
                  <c:v>88</c:v>
                </c:pt>
              </c:numCache>
            </c:numRef>
          </c:val>
          <c:extLst xmlns:c16r2="http://schemas.microsoft.com/office/drawing/2015/06/chart">
            <c:ext xmlns:c16="http://schemas.microsoft.com/office/drawing/2014/chart" uri="{C3380CC4-5D6E-409C-BE32-E72D297353CC}">
              <c16:uniqueId val="{0000000D-1FD3-4181-87BC-553608DB0854}"/>
            </c:ext>
          </c:extLst>
        </c:ser>
        <c:dLbls>
          <c:showLegendKey val="0"/>
          <c:showVal val="1"/>
          <c:showCatName val="0"/>
          <c:showSerName val="0"/>
          <c:showPercent val="0"/>
          <c:showBubbleSize val="0"/>
        </c:dLbls>
        <c:gapWidth val="150"/>
        <c:shape val="box"/>
        <c:axId val="371991104"/>
        <c:axId val="371992672"/>
        <c:axId val="0"/>
      </c:bar3DChart>
      <c:catAx>
        <c:axId val="371991104"/>
        <c:scaling>
          <c:orientation val="minMax"/>
        </c:scaling>
        <c:delete val="1"/>
        <c:axPos val="l"/>
        <c:numFmt formatCode="General" sourceLinked="1"/>
        <c:majorTickMark val="none"/>
        <c:minorTickMark val="none"/>
        <c:tickLblPos val="nextTo"/>
        <c:crossAx val="371992672"/>
        <c:crosses val="autoZero"/>
        <c:auto val="1"/>
        <c:lblAlgn val="ctr"/>
        <c:lblOffset val="100"/>
        <c:noMultiLvlLbl val="0"/>
      </c:catAx>
      <c:valAx>
        <c:axId val="371992672"/>
        <c:scaling>
          <c:orientation val="minMax"/>
        </c:scaling>
        <c:delete val="1"/>
        <c:axPos val="b"/>
        <c:majorGridlines>
          <c:spPr>
            <a:ln w="9525" cap="flat" cmpd="sng" algn="ctr">
              <a:noFill/>
              <a:round/>
            </a:ln>
            <a:effectLst/>
          </c:spPr>
        </c:majorGridlines>
        <c:numFmt formatCode="General" sourceLinked="1"/>
        <c:majorTickMark val="none"/>
        <c:minorTickMark val="none"/>
        <c:tickLblPos val="nextTo"/>
        <c:crossAx val="371991104"/>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pivotOptions>
    </c:ext>
  </c:extLst>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7!PivotTable7</c:name>
    <c:fmtId val="-1"/>
  </c:pivotSource>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op 3 Facitity - Performance Sco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circle"/>
          <c:size val="6"/>
        </c:marker>
        <c:dLbl>
          <c:idx val="0"/>
          <c:spPr>
            <a:solidFill>
              <a:schemeClr val="tx1">
                <a:lumMod val="85000"/>
                <a:lumOff val="1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2"/>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3"/>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solidFill>
              <a:schemeClr val="tx1">
                <a:lumMod val="85000"/>
                <a:lumOff val="1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9050">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pivotFmt>
      <c:pivotFmt>
        <c:idx val="8"/>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solidFill>
              <a:schemeClr val="tx1">
                <a:lumMod val="85000"/>
                <a:lumOff val="1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9"/>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0"/>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1"/>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2"/>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solidFill>
              <a:schemeClr val="tx1">
                <a:lumMod val="85000"/>
                <a:lumOff val="1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3"/>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4"/>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5"/>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6"/>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marker>
          <c:symbol val="none"/>
        </c:marker>
        <c:dLbl>
          <c:idx val="0"/>
          <c:spPr>
            <a:solidFill>
              <a:schemeClr val="tx1">
                <a:lumMod val="85000"/>
                <a:lumOff val="1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7"/>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8"/>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
        <c:idx val="19"/>
        <c:spPr>
          <a:gradFill rotWithShape="1">
            <a:gsLst>
              <a:gs pos="0">
                <a:schemeClr val="accent1">
                  <a:tint val="98000"/>
                  <a:lumMod val="114000"/>
                </a:schemeClr>
              </a:gs>
              <a:gs pos="100000">
                <a:schemeClr val="accent1">
                  <a:shade val="90000"/>
                  <a:lumMod val="84000"/>
                </a:schemeClr>
              </a:gs>
            </a:gsLst>
            <a:lin ang="5400000" scaled="0"/>
          </a:gradFill>
          <a:ln w="19050">
            <a:noFill/>
          </a:ln>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c:spPr>
      </c:pivotFmt>
    </c:pivotFmts>
    <c:plotArea>
      <c:layout>
        <c:manualLayout>
          <c:layoutTarget val="inner"/>
          <c:xMode val="edge"/>
          <c:yMode val="edge"/>
          <c:x val="3.0555555555555555E-2"/>
          <c:y val="0.26791447944006996"/>
          <c:w val="0.62225831146106736"/>
          <c:h val="0.68578922426363376"/>
        </c:manualLayout>
      </c:layout>
      <c:doughnutChart>
        <c:varyColors val="1"/>
        <c:ser>
          <c:idx val="0"/>
          <c:order val="0"/>
          <c:tx>
            <c:strRef>
              <c:f>'KPI-7'!$B$5</c:f>
              <c:strCache>
                <c:ptCount val="1"/>
                <c:pt idx="0">
                  <c:v>Total</c:v>
                </c:pt>
              </c:strCache>
            </c:strRef>
          </c:tx>
          <c:dPt>
            <c:idx val="0"/>
            <c:bubble3D val="0"/>
            <c:explosion val="1"/>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2C39-467A-A864-CDB2D0992A92}"/>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2C39-467A-A864-CDB2D0992A92}"/>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2C39-467A-A864-CDB2D0992A9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KPI-7'!$A$6:$A$9</c:f>
              <c:strCache>
                <c:ptCount val="3"/>
                <c:pt idx="0">
                  <c:v>TOTAL RENAL CARE, INC.</c:v>
                </c:pt>
                <c:pt idx="1">
                  <c:v>TOTAL RENAL CARE INC</c:v>
                </c:pt>
                <c:pt idx="2">
                  <c:v>ISD RENAL INC</c:v>
                </c:pt>
              </c:strCache>
            </c:strRef>
          </c:cat>
          <c:val>
            <c:numRef>
              <c:f>'KPI-7'!$B$6:$B$9</c:f>
              <c:numCache>
                <c:formatCode>0.00</c:formatCode>
                <c:ptCount val="3"/>
                <c:pt idx="0">
                  <c:v>61.806451612903224</c:v>
                </c:pt>
                <c:pt idx="1">
                  <c:v>59.05263157894737</c:v>
                </c:pt>
                <c:pt idx="2">
                  <c:v>58.8</c:v>
                </c:pt>
              </c:numCache>
            </c:numRef>
          </c:val>
          <c:extLst xmlns:c16r2="http://schemas.microsoft.com/office/drawing/2015/06/chart">
            <c:ext xmlns:c16="http://schemas.microsoft.com/office/drawing/2014/chart" uri="{C3380CC4-5D6E-409C-BE32-E72D297353CC}">
              <c16:uniqueId val="{00000006-2C39-467A-A864-CDB2D0992A92}"/>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pivotOptions>
    </c:ext>
  </c:extLst>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P-154 Healthcare_Dialysis_Excel.xlsx]KPI-8!PivotTable8</c:name>
    <c:fmtId val="-1"/>
  </c:pivotSource>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a:t>Average Payment Reduction Rate</a:t>
            </a:r>
          </a:p>
        </c:rich>
      </c:tx>
      <c:layout>
        <c:manualLayout>
          <c:xMode val="edge"/>
          <c:yMode val="edge"/>
          <c:x val="0.15813864613077214"/>
          <c:y val="4.6296296296296294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alpha val="88000"/>
            </a:schemeClr>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marker>
          <c:symbol val="circle"/>
          <c:size val="6"/>
          <c:spPr>
            <a:solidFill>
              <a:schemeClr val="accent1"/>
            </a:solidFill>
            <a:ln w="9525">
              <a:solidFill>
                <a:schemeClr val="dk1">
                  <a:lumMod val="75000"/>
                  <a:lumOff val="25000"/>
                </a:schemeClr>
              </a:solidFill>
            </a:ln>
            <a:effectLst/>
          </c:spPr>
        </c:marker>
        <c:dLbl>
          <c:idx val="0"/>
          <c:spPr>
            <a:solidFill>
              <a:srgbClr val="4472C4">
                <a:alpha val="30000"/>
              </a:srgbClr>
            </a:solidFill>
            <a:ln>
              <a:solidFill>
                <a:sysClr val="window" lastClr="FFFFFF">
                  <a:alpha val="50000"/>
                </a:sysClr>
              </a:solidFill>
              <a:round/>
            </a:ln>
            <a:effectLst>
              <a:outerShdw blurRad="63500" dist="88900" dir="2700000" algn="tl" rotWithShape="0">
                <a:schemeClr val="accent1">
                  <a:alpha val="40000"/>
                </a:scheme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solidFill>
            <a:schemeClr val="accent1">
              <a:alpha val="88000"/>
            </a:schemeClr>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marker>
          <c:symbol val="none"/>
        </c:marker>
        <c:dLbl>
          <c:idx val="0"/>
          <c:spPr>
            <a:solidFill>
              <a:srgbClr val="4472C4">
                <a:alpha val="30000"/>
              </a:srgbClr>
            </a:solidFill>
            <a:ln>
              <a:solidFill>
                <a:sysClr val="window" lastClr="FFFFFF">
                  <a:alpha val="50000"/>
                </a:sysClr>
              </a:solidFill>
              <a:round/>
            </a:ln>
            <a:effectLst>
              <a:outerShdw blurRad="63500" dist="88900" dir="2700000" algn="tl" rotWithShape="0">
                <a:schemeClr val="accent1">
                  <a:alpha val="40000"/>
                </a:scheme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solidFill>
            <a:schemeClr val="accent1">
              <a:alpha val="88000"/>
            </a:schemeClr>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marker>
          <c:symbol val="none"/>
        </c:marker>
        <c:dLbl>
          <c:idx val="0"/>
          <c:spPr>
            <a:solidFill>
              <a:srgbClr val="4472C4">
                <a:alpha val="30000"/>
              </a:srgbClr>
            </a:solidFill>
            <a:ln>
              <a:solidFill>
                <a:sysClr val="window" lastClr="FFFFFF">
                  <a:alpha val="50000"/>
                </a:sysClr>
              </a:solidFill>
              <a:round/>
            </a:ln>
            <a:effectLst>
              <a:outerShdw blurRad="63500" dist="88900" dir="2700000" algn="tl" rotWithShape="0">
                <a:schemeClr val="accent1">
                  <a:alpha val="40000"/>
                </a:scheme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3"/>
        <c:spPr>
          <a:solidFill>
            <a:schemeClr val="accent1">
              <a:alpha val="88000"/>
            </a:schemeClr>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marker>
          <c:symbol val="none"/>
        </c:marker>
        <c:dLbl>
          <c:idx val="0"/>
          <c:spPr>
            <a:solidFill>
              <a:srgbClr val="4472C4">
                <a:alpha val="30000"/>
              </a:srgbClr>
            </a:solidFill>
            <a:ln>
              <a:solidFill>
                <a:sysClr val="window" lastClr="FFFFFF">
                  <a:alpha val="50000"/>
                </a:sysClr>
              </a:solidFill>
              <a:round/>
            </a:ln>
            <a:effectLst>
              <a:outerShdw blurRad="63500" dist="88900" dir="2700000" algn="tl" rotWithShape="0">
                <a:schemeClr val="accent1">
                  <a:alpha val="40000"/>
                </a:scheme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
        <c:idx val="4"/>
        <c:spPr>
          <a:solidFill>
            <a:schemeClr val="accent1">
              <a:alpha val="88000"/>
            </a:schemeClr>
          </a:solidFill>
          <a:ln>
            <a:solidFill>
              <a:schemeClr val="accent1">
                <a:lumMod val="50000"/>
              </a:schemeClr>
            </a:solidFill>
          </a:ln>
          <a:effectLst/>
          <a:scene3d>
            <a:camera prst="orthographicFront"/>
            <a:lightRig rig="threePt" dir="t"/>
          </a:scene3d>
          <a:sp3d prstMaterial="flat">
            <a:contourClr>
              <a:schemeClr val="accent1">
                <a:lumMod val="50000"/>
              </a:schemeClr>
            </a:contourClr>
          </a:sp3d>
        </c:spPr>
        <c:marker>
          <c:symbol val="none"/>
        </c:marker>
        <c:dLbl>
          <c:idx val="0"/>
          <c:spPr>
            <a:solidFill>
              <a:srgbClr val="4472C4">
                <a:alpha val="30000"/>
              </a:srgbClr>
            </a:solidFill>
            <a:ln>
              <a:solidFill>
                <a:sysClr val="window" lastClr="FFFFFF">
                  <a:alpha val="50000"/>
                </a:sysClr>
              </a:solidFill>
              <a:round/>
            </a:ln>
            <a:effectLst>
              <a:outerShdw blurRad="63500" dist="88900" dir="2700000" algn="tl" rotWithShape="0">
                <a:schemeClr val="accent1">
                  <a:alpha val="40000"/>
                </a:schemeClr>
              </a:outerShdw>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pivotFmt>
    </c:pivotFmts>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8955704832264342E-2"/>
          <c:y val="0.42310281031316271"/>
          <c:w val="0.92104429516773567"/>
          <c:h val="0.46522585953894108"/>
        </c:manualLayout>
      </c:layout>
      <c:bar3DChart>
        <c:barDir val="col"/>
        <c:grouping val="clustered"/>
        <c:varyColors val="0"/>
        <c:ser>
          <c:idx val="0"/>
          <c:order val="0"/>
          <c:tx>
            <c:strRef>
              <c:f>'KPI-8'!$A$5</c:f>
              <c:strCache>
                <c:ptCount val="1"/>
                <c:pt idx="0">
                  <c:v>Total</c:v>
                </c:pt>
              </c:strCache>
            </c:strRef>
          </c:tx>
          <c:spPr>
            <a:solidFill>
              <a:schemeClr val="accent1"/>
            </a:solidFill>
            <a:ln>
              <a:noFill/>
            </a:ln>
            <a:effectLst/>
            <a:sp3d/>
          </c:spPr>
          <c:invertIfNegative val="0"/>
          <c:dLbls>
            <c:dLbl>
              <c:idx val="0"/>
              <c:layout>
                <c:manualLayout>
                  <c:x val="0.11080220509654289"/>
                  <c:y val="-0.11500326723785642"/>
                </c:manualLayout>
              </c:layout>
              <c:spPr>
                <a:noFill/>
                <a:ln>
                  <a:noFill/>
                </a:ln>
                <a:effectLst/>
              </c:spPr>
              <c:txPr>
                <a:bodyPr rot="0" spcFirstLastPara="1" vertOverflow="ellipsis" vert="horz" wrap="square" lIns="38100" tIns="19050" rIns="38100" bIns="19050" anchor="ctr" anchorCtr="1">
                  <a:no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17B3-48B3-A25C-379A60A262EA}"/>
                </c:ext>
                <c:ext xmlns:c15="http://schemas.microsoft.com/office/drawing/2012/chart" uri="{CE6537A1-D6FC-4f65-9D91-7224C49458BB}">
                  <c15:layout>
                    <c:manualLayout>
                      <c:w val="0.22697755822105511"/>
                      <c:h val="0.10242710349797467"/>
                    </c:manualLayout>
                  </c15:layout>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KPI-8'!$A$6</c:f>
              <c:strCache>
                <c:ptCount val="1"/>
                <c:pt idx="0">
                  <c:v>Total</c:v>
                </c:pt>
              </c:strCache>
            </c:strRef>
          </c:cat>
          <c:val>
            <c:numRef>
              <c:f>'KPI-8'!$A$6</c:f>
              <c:numCache>
                <c:formatCode>0.00%</c:formatCode>
                <c:ptCount val="1"/>
                <c:pt idx="0">
                  <c:v>3.205525606469032E-3</c:v>
                </c:pt>
              </c:numCache>
            </c:numRef>
          </c:val>
          <c:shape val="cylinder"/>
          <c:extLst xmlns:c16r2="http://schemas.microsoft.com/office/drawing/2015/06/chart">
            <c:ext xmlns:c16="http://schemas.microsoft.com/office/drawing/2014/chart" uri="{C3380CC4-5D6E-409C-BE32-E72D297353CC}">
              <c16:uniqueId val="{00000000-17B3-48B3-A25C-379A60A262EA}"/>
            </c:ext>
          </c:extLst>
        </c:ser>
        <c:dLbls>
          <c:showLegendKey val="0"/>
          <c:showVal val="1"/>
          <c:showCatName val="0"/>
          <c:showSerName val="0"/>
          <c:showPercent val="0"/>
          <c:showBubbleSize val="0"/>
        </c:dLbls>
        <c:gapWidth val="150"/>
        <c:shape val="box"/>
        <c:axId val="300266024"/>
        <c:axId val="300269552"/>
        <c:axId val="0"/>
      </c:bar3DChart>
      <c:catAx>
        <c:axId val="300266024"/>
        <c:scaling>
          <c:orientation val="minMax"/>
        </c:scaling>
        <c:delete val="1"/>
        <c:axPos val="b"/>
        <c:numFmt formatCode="General" sourceLinked="1"/>
        <c:majorTickMark val="none"/>
        <c:minorTickMark val="none"/>
        <c:tickLblPos val="nextTo"/>
        <c:crossAx val="300269552"/>
        <c:crosses val="autoZero"/>
        <c:auto val="1"/>
        <c:lblAlgn val="ctr"/>
        <c:lblOffset val="100"/>
        <c:noMultiLvlLbl val="0"/>
      </c:catAx>
      <c:valAx>
        <c:axId val="300269552"/>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30026602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064" b="1"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0921E7-7A75-4DEA-9ED4-484896AD9FE2}" type="datetimeFigureOut">
              <a:rPr lang="en-ID" smtClean="0"/>
              <a:t>11/06/2023</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9108AB-0C48-4479-9644-8D40D3478E17}" type="slidenum">
              <a:rPr lang="en-ID" smtClean="0"/>
              <a:t>‹#›</a:t>
            </a:fld>
            <a:endParaRPr lang="en-ID"/>
          </a:p>
        </p:txBody>
      </p:sp>
    </p:spTree>
    <p:extLst>
      <p:ext uri="{BB962C8B-B14F-4D97-AF65-F5344CB8AC3E}">
        <p14:creationId xmlns:p14="http://schemas.microsoft.com/office/powerpoint/2010/main" val="26107271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9C7CEA-0F72-BA42-8EE6-B94CAE0301A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CD35C526-D9ED-2142-9CF0-631874B818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F0DC04ED-7F69-7549-A425-A355A20D1B0E}"/>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5" name="Footer Placeholder 4">
            <a:extLst>
              <a:ext uri="{FF2B5EF4-FFF2-40B4-BE49-F238E27FC236}">
                <a16:creationId xmlns="" xmlns:a16="http://schemas.microsoft.com/office/drawing/2014/main" id="{82992C2C-5D10-164B-A118-E231C0C928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1D25C67-C58C-1042-9FB4-08EA2E5D551A}"/>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1562432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6646F24-0AB1-1748-BD32-F8826038FA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FA30D861-B258-2D4E-9C1C-7226039805E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DCDE3E7F-0D4D-1347-92AB-2F4D393C7147}"/>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5" name="Footer Placeholder 4">
            <a:extLst>
              <a:ext uri="{FF2B5EF4-FFF2-40B4-BE49-F238E27FC236}">
                <a16:creationId xmlns="" xmlns:a16="http://schemas.microsoft.com/office/drawing/2014/main" id="{75D2EA1D-EA51-AD40-9442-A1EFA7F0D4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4BB6A19-B647-EF43-BCA1-7ECD73D8363B}"/>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961041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85523C80-E151-C64A-8C7E-E20C61BDE8F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4A73B633-B739-7B4C-90DE-C07087FA2B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0BD079E-2FE2-A340-B704-65125A6E2F70}"/>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5" name="Footer Placeholder 4">
            <a:extLst>
              <a:ext uri="{FF2B5EF4-FFF2-40B4-BE49-F238E27FC236}">
                <a16:creationId xmlns="" xmlns:a16="http://schemas.microsoft.com/office/drawing/2014/main" id="{9192E166-08D3-8340-88DB-1D6849ABD9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0E24CA2A-19B5-9540-8FFA-4908C8507BC4}"/>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2658357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119478-681B-E747-B4E2-D593104860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861548B9-E3BB-0C41-AA9E-69D2BA7198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0C6DBB4-7DD1-3740-9146-B35A41DBEABF}"/>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5" name="Footer Placeholder 4">
            <a:extLst>
              <a:ext uri="{FF2B5EF4-FFF2-40B4-BE49-F238E27FC236}">
                <a16:creationId xmlns="" xmlns:a16="http://schemas.microsoft.com/office/drawing/2014/main" id="{3F55FC0F-707F-B948-8043-587D38016D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81D1E33-CDC2-7447-9600-0BFC2FC1C697}"/>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2979198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8069DE9-7B1F-504F-B48A-A2254B90A4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506BDCAA-C56B-9040-AE0D-BCC0D68E37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FFCA7117-3A1D-0B42-84B0-778DFE00996C}"/>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5" name="Footer Placeholder 4">
            <a:extLst>
              <a:ext uri="{FF2B5EF4-FFF2-40B4-BE49-F238E27FC236}">
                <a16:creationId xmlns="" xmlns:a16="http://schemas.microsoft.com/office/drawing/2014/main" id="{3313CABA-4E44-F94A-8C5B-2DDB8AC084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063A662A-8744-E642-AF3B-1F447714ECA2}"/>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18602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823A350-1076-2448-9476-59AA5C1A67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CF3D19E3-68C2-F04B-AC31-4E19E8F50A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1A06CE70-C071-7842-A9B6-F487865187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779653DF-A415-4F42-9A87-87C9AE8B80AC}"/>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6" name="Footer Placeholder 5">
            <a:extLst>
              <a:ext uri="{FF2B5EF4-FFF2-40B4-BE49-F238E27FC236}">
                <a16:creationId xmlns="" xmlns:a16="http://schemas.microsoft.com/office/drawing/2014/main" id="{3EFC4FD2-59C2-2242-81F8-11825862AE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79DC3FD7-9230-9F4E-9159-EE3635CA963E}"/>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24855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8C48054-7502-944A-82B5-2C84641D8B3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04D34BE2-1248-2E4A-982A-7135960FD6E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F7AB76CF-9AD4-B540-9EB4-0AF7E2F519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37DDFDCA-C4FC-D14B-9686-CB21C51772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201087FC-C10D-274B-9B99-FD3EAB5D28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7FCC5A16-84AF-AD4D-AEFA-53F77C949637}"/>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8" name="Footer Placeholder 7">
            <a:extLst>
              <a:ext uri="{FF2B5EF4-FFF2-40B4-BE49-F238E27FC236}">
                <a16:creationId xmlns="" xmlns:a16="http://schemas.microsoft.com/office/drawing/2014/main" id="{AECE5A91-A0B7-FE4A-9504-F532A0AF1E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76C9F4D4-C58F-2440-A1B2-E28C2E3BE48C}"/>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2633496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7D1B83-FA66-FD4B-BDE7-120F1D33C1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F98C2536-42B1-A849-AD30-86FFE5B94F90}"/>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4" name="Footer Placeholder 3">
            <a:extLst>
              <a:ext uri="{FF2B5EF4-FFF2-40B4-BE49-F238E27FC236}">
                <a16:creationId xmlns="" xmlns:a16="http://schemas.microsoft.com/office/drawing/2014/main" id="{AE9D7E23-C894-1048-B0BA-DCC1721EC8D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9742EC88-78F1-EA4B-82A7-92A8302E21B7}"/>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1517420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BF0B782A-4618-E546-B6A6-4008E44656A8}"/>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3" name="Footer Placeholder 2">
            <a:extLst>
              <a:ext uri="{FF2B5EF4-FFF2-40B4-BE49-F238E27FC236}">
                <a16:creationId xmlns="" xmlns:a16="http://schemas.microsoft.com/office/drawing/2014/main" id="{D9D3CD8E-B849-CA47-8CC2-AB270690E2F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D5803E10-65F9-8745-9A0F-9BAC906D7E21}"/>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944899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C1FA868-CC9D-5549-8DC7-996D1D0659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1A33237F-29CD-254A-90A8-BAF72A89616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AC048F78-77DC-7744-B38E-58ED6EE6E4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E8FDD40B-AC3C-3C4B-82A2-5F8003A1AA50}"/>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6" name="Footer Placeholder 5">
            <a:extLst>
              <a:ext uri="{FF2B5EF4-FFF2-40B4-BE49-F238E27FC236}">
                <a16:creationId xmlns="" xmlns:a16="http://schemas.microsoft.com/office/drawing/2014/main" id="{AA499C9B-1547-D848-8B86-EA6AD228A4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DB746078-C6E7-FA42-9648-98372E104068}"/>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3104961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7149955-E4D1-C943-A102-EA385372F0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53BC2E33-6B85-2842-93A9-4754AFB217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68D0C71F-89C8-6442-8D8D-092C044C44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A2946525-7D6F-344F-92E7-48F8BDE88E51}"/>
              </a:ext>
            </a:extLst>
          </p:cNvPr>
          <p:cNvSpPr>
            <a:spLocks noGrp="1"/>
          </p:cNvSpPr>
          <p:nvPr>
            <p:ph type="dt" sz="half" idx="10"/>
          </p:nvPr>
        </p:nvSpPr>
        <p:spPr/>
        <p:txBody>
          <a:bodyPr/>
          <a:lstStyle/>
          <a:p>
            <a:fld id="{CCA2CD3B-64B1-404B-86ED-EA07F657E654}" type="datetimeFigureOut">
              <a:rPr lang="en-US" smtClean="0"/>
              <a:t>6/11/2023</a:t>
            </a:fld>
            <a:endParaRPr lang="en-US"/>
          </a:p>
        </p:txBody>
      </p:sp>
      <p:sp>
        <p:nvSpPr>
          <p:cNvPr id="6" name="Footer Placeholder 5">
            <a:extLst>
              <a:ext uri="{FF2B5EF4-FFF2-40B4-BE49-F238E27FC236}">
                <a16:creationId xmlns="" xmlns:a16="http://schemas.microsoft.com/office/drawing/2014/main" id="{8241024C-0507-0146-9815-A1A0BECC4D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86D68C5E-EDAB-6548-A493-4589A0B09D77}"/>
              </a:ext>
            </a:extLst>
          </p:cNvPr>
          <p:cNvSpPr>
            <a:spLocks noGrp="1"/>
          </p:cNvSpPr>
          <p:nvPr>
            <p:ph type="sldNum" sz="quarter" idx="12"/>
          </p:nvPr>
        </p:nvSpPr>
        <p:spPr/>
        <p:txBody>
          <a:bodyPr/>
          <a:lstStyle/>
          <a:p>
            <a:fld id="{D62B3983-42DF-BA46-9230-37B72AD80C77}" type="slidenum">
              <a:rPr lang="en-US" smtClean="0"/>
              <a:t>‹#›</a:t>
            </a:fld>
            <a:endParaRPr lang="en-US"/>
          </a:p>
        </p:txBody>
      </p:sp>
    </p:spTree>
    <p:extLst>
      <p:ext uri="{BB962C8B-B14F-4D97-AF65-F5344CB8AC3E}">
        <p14:creationId xmlns:p14="http://schemas.microsoft.com/office/powerpoint/2010/main" val="3215163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96BA0A20-8440-4920-8A4D-4679678C8441}"/>
              </a:ext>
            </a:extLst>
          </p:cNvPr>
          <p:cNvGraphicFramePr>
            <a:graphicFrameLocks noChangeAspect="1"/>
          </p:cNvGraphicFramePr>
          <p:nvPr userDrawn="1">
            <p:custDataLst>
              <p:tags r:id="rId14"/>
            </p:custDataLst>
            <p:extLst>
              <p:ext uri="{D42A27DB-BD31-4B8C-83A1-F6EECF244321}">
                <p14:modId xmlns:p14="http://schemas.microsoft.com/office/powerpoint/2010/main" val="2748638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5" imgW="378" imgH="379" progId="TCLayout.ActiveDocument.1">
                  <p:embed/>
                </p:oleObj>
              </mc:Choice>
              <mc:Fallback>
                <p:oleObj name="think-cell Slide" r:id="rId15" imgW="378" imgH="379" progId="TCLayout.ActiveDocument.1">
                  <p:embed/>
                  <p:pic>
                    <p:nvPicPr>
                      <p:cNvPr id="8" name="Object 7" hidden="1">
                        <a:extLst>
                          <a:ext uri="{FF2B5EF4-FFF2-40B4-BE49-F238E27FC236}">
                            <a16:creationId xmlns="" xmlns:a16="http://schemas.microsoft.com/office/drawing/2014/main" id="{96BA0A20-8440-4920-8A4D-4679678C844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0944AF7-6E06-8147-B638-9BF0EDAD6A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D633F7C2-C41C-3943-99E6-F74EC7E7BA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D564A39-A00C-EB40-A67F-24E9453AE2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A2CD3B-64B1-404B-86ED-EA07F657E654}" type="datetimeFigureOut">
              <a:rPr lang="en-US" smtClean="0"/>
              <a:t>6/11/2023</a:t>
            </a:fld>
            <a:endParaRPr lang="en-US"/>
          </a:p>
        </p:txBody>
      </p:sp>
      <p:sp>
        <p:nvSpPr>
          <p:cNvPr id="5" name="Footer Placeholder 4">
            <a:extLst>
              <a:ext uri="{FF2B5EF4-FFF2-40B4-BE49-F238E27FC236}">
                <a16:creationId xmlns="" xmlns:a16="http://schemas.microsoft.com/office/drawing/2014/main" id="{C32AB716-B1FF-044C-8D38-612333BE8F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887A2E42-3DE7-7649-8729-32CE93897C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2B3983-42DF-BA46-9230-37B72AD80C77}" type="slidenum">
              <a:rPr lang="en-US" smtClean="0"/>
              <a:t>‹#›</a:t>
            </a:fld>
            <a:endParaRPr lang="en-US"/>
          </a:p>
        </p:txBody>
      </p:sp>
    </p:spTree>
    <p:extLst>
      <p:ext uri="{BB962C8B-B14F-4D97-AF65-F5344CB8AC3E}">
        <p14:creationId xmlns:p14="http://schemas.microsoft.com/office/powerpoint/2010/main" val="1216757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F9623D30-BA79-479F-9133-2AD8280DDD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 xmlns:a16="http://schemas.microsoft.com/office/drawing/2014/main" id="{F9623D30-BA79-479F-9133-2AD8280DD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7A8BD3D0-400E-0F4D-94BC-1FEA2833DC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76" y="3176"/>
            <a:ext cx="12188823" cy="7432158"/>
          </a:xfrm>
          <a:prstGeom prst="rect">
            <a:avLst/>
          </a:prstGeom>
          <a:noFill/>
          <a:ln>
            <a:noFill/>
          </a:ln>
        </p:spPr>
      </p:pic>
      <p:grpSp>
        <p:nvGrpSpPr>
          <p:cNvPr id="5" name="Group 4">
            <a:extLst>
              <a:ext uri="{FF2B5EF4-FFF2-40B4-BE49-F238E27FC236}">
                <a16:creationId xmlns="" xmlns:a16="http://schemas.microsoft.com/office/drawing/2014/main" id="{D1B4D51D-4FDC-4CA1-85FC-1AD3AD0A45DF}"/>
              </a:ext>
            </a:extLst>
          </p:cNvPr>
          <p:cNvGrpSpPr/>
          <p:nvPr/>
        </p:nvGrpSpPr>
        <p:grpSpPr>
          <a:xfrm>
            <a:off x="0" y="2564018"/>
            <a:ext cx="12192000" cy="2508379"/>
            <a:chOff x="-282868" y="5373188"/>
            <a:chExt cx="12192000" cy="2508379"/>
          </a:xfrm>
        </p:grpSpPr>
        <p:sp>
          <p:nvSpPr>
            <p:cNvPr id="6" name="TextBox 5">
              <a:extLst>
                <a:ext uri="{FF2B5EF4-FFF2-40B4-BE49-F238E27FC236}">
                  <a16:creationId xmlns="" xmlns:a16="http://schemas.microsoft.com/office/drawing/2014/main" id="{FBF05139-FD46-474D-8220-C6D8726F6A44}"/>
                </a:ext>
              </a:extLst>
            </p:cNvPr>
            <p:cNvSpPr txBox="1"/>
            <p:nvPr/>
          </p:nvSpPr>
          <p:spPr>
            <a:xfrm>
              <a:off x="-282868" y="5573243"/>
              <a:ext cx="12192000" cy="2308324"/>
            </a:xfrm>
            <a:prstGeom prst="rect">
              <a:avLst/>
            </a:prstGeom>
            <a:solidFill>
              <a:srgbClr val="2AAEE2">
                <a:alpha val="44000"/>
              </a:srgbClr>
            </a:solidFill>
          </p:spPr>
          <p:txBody>
            <a:bodyPr wrap="square" rtlCol="0">
              <a:spAutoFit/>
            </a:bodyPr>
            <a:lstStyle/>
            <a:p>
              <a:pPr algn="ctr"/>
              <a:r>
                <a:rPr lang="en-US" sz="7200" b="1" dirty="0">
                  <a:ln w="12700">
                    <a:solidFill>
                      <a:schemeClr val="tx2">
                        <a:lumMod val="75000"/>
                      </a:schemeClr>
                    </a:solidFill>
                    <a:prstDash val="solid"/>
                  </a:ln>
                  <a:solidFill>
                    <a:srgbClr val="1CADE4"/>
                  </a:solidFill>
                  <a:effectLst>
                    <a:outerShdw dist="38100" dir="2640000" algn="bl" rotWithShape="0">
                      <a:schemeClr val="tx2">
                        <a:lumMod val="75000"/>
                      </a:schemeClr>
                    </a:outerShdw>
                  </a:effectLst>
                  <a:latin typeface="Segoe UI" panose="020B0502040204020203" pitchFamily="34" charset="0"/>
                  <a:cs typeface="Segoe UI" panose="020B0502040204020203" pitchFamily="34" charset="0"/>
                </a:rPr>
                <a:t>Health Care Analysis </a:t>
              </a:r>
            </a:p>
            <a:p>
              <a:pPr algn="ctr"/>
              <a:r>
                <a:rPr lang="en-US" sz="7200" b="1" dirty="0">
                  <a:ln w="12700">
                    <a:solidFill>
                      <a:schemeClr val="tx2">
                        <a:lumMod val="75000"/>
                      </a:schemeClr>
                    </a:solidFill>
                    <a:prstDash val="solid"/>
                  </a:ln>
                  <a:solidFill>
                    <a:srgbClr val="1CADE4"/>
                  </a:solidFill>
                  <a:effectLst>
                    <a:outerShdw dist="38100" dir="2640000" algn="bl" rotWithShape="0">
                      <a:schemeClr val="tx2">
                        <a:lumMod val="75000"/>
                      </a:schemeClr>
                    </a:outerShdw>
                  </a:effectLst>
                  <a:latin typeface="Segoe UI" panose="020B0502040204020203" pitchFamily="34" charset="0"/>
                  <a:cs typeface="Segoe UI" panose="020B0502040204020203" pitchFamily="34" charset="0"/>
                </a:rPr>
                <a:t>Report</a:t>
              </a:r>
              <a:endParaRPr lang="en-ID" sz="7200" b="1" dirty="0">
                <a:ln w="12700">
                  <a:solidFill>
                    <a:schemeClr val="tx2">
                      <a:lumMod val="75000"/>
                    </a:schemeClr>
                  </a:solidFill>
                  <a:prstDash val="solid"/>
                </a:ln>
                <a:solidFill>
                  <a:srgbClr val="1CADE4"/>
                </a:solidFill>
                <a:effectLst>
                  <a:outerShdw dist="38100" dir="2640000" algn="bl" rotWithShape="0">
                    <a:schemeClr val="tx2">
                      <a:lumMod val="75000"/>
                    </a:schemeClr>
                  </a:outerShdw>
                </a:effectLst>
                <a:latin typeface="Segoe UI" panose="020B0502040204020203" pitchFamily="34" charset="0"/>
                <a:cs typeface="Segoe UI" panose="020B0502040204020203" pitchFamily="34" charset="0"/>
              </a:endParaRPr>
            </a:p>
          </p:txBody>
        </p:sp>
        <p:sp>
          <p:nvSpPr>
            <p:cNvPr id="7" name="TextBox 6">
              <a:extLst>
                <a:ext uri="{FF2B5EF4-FFF2-40B4-BE49-F238E27FC236}">
                  <a16:creationId xmlns="" xmlns:a16="http://schemas.microsoft.com/office/drawing/2014/main" id="{B79CFA68-F8E2-B549-BBB8-5CBBAA99E2C6}"/>
                </a:ext>
              </a:extLst>
            </p:cNvPr>
            <p:cNvSpPr txBox="1"/>
            <p:nvPr/>
          </p:nvSpPr>
          <p:spPr>
            <a:xfrm>
              <a:off x="6003639" y="5373188"/>
              <a:ext cx="184731" cy="400110"/>
            </a:xfrm>
            <a:prstGeom prst="rect">
              <a:avLst/>
            </a:prstGeom>
            <a:noFill/>
          </p:spPr>
          <p:txBody>
            <a:bodyPr wrap="none" rtlCol="0">
              <a:spAutoFit/>
            </a:bodyPr>
            <a:lstStyle/>
            <a:p>
              <a:pPr algn="ctr"/>
              <a:endParaRPr lang="en-ID" sz="2000" i="1" spc="600" dirty="0">
                <a:solidFill>
                  <a:schemeClr val="bg1"/>
                </a:solidFill>
                <a:effectLst>
                  <a:outerShdw blurRad="38100" dist="38100" dir="2700000" algn="tl">
                    <a:srgbClr val="000000">
                      <a:alpha val="43137"/>
                    </a:srgbClr>
                  </a:outerShdw>
                </a:effectLst>
                <a:latin typeface="+mj-lt"/>
                <a:ea typeface="Lato" panose="020F0502020204030203" pitchFamily="34" charset="0"/>
                <a:cs typeface="Lato" panose="020F0502020204030203" pitchFamily="34" charset="0"/>
              </a:endParaRPr>
            </a:p>
          </p:txBody>
        </p:sp>
      </p:grpSp>
      <p:sp>
        <p:nvSpPr>
          <p:cNvPr id="12" name="Freeform 11">
            <a:extLst>
              <a:ext uri="{FF2B5EF4-FFF2-40B4-BE49-F238E27FC236}">
                <a16:creationId xmlns="" xmlns:a16="http://schemas.microsoft.com/office/drawing/2014/main" id="{58E08E07-64C6-C04C-9D69-69523B1D1E02}"/>
              </a:ext>
            </a:extLst>
          </p:cNvPr>
          <p:cNvSpPr>
            <a:spLocks noEditPoints="1"/>
          </p:cNvSpPr>
          <p:nvPr/>
        </p:nvSpPr>
        <p:spPr bwMode="auto">
          <a:xfrm>
            <a:off x="5586076" y="115131"/>
            <a:ext cx="1019847" cy="1168466"/>
          </a:xfrm>
          <a:custGeom>
            <a:avLst/>
            <a:gdLst>
              <a:gd name="T0" fmla="*/ 83 w 84"/>
              <a:gd name="T1" fmla="*/ 2 h 96"/>
              <a:gd name="T2" fmla="*/ 81 w 84"/>
              <a:gd name="T3" fmla="*/ 2 h 96"/>
              <a:gd name="T4" fmla="*/ 62 w 84"/>
              <a:gd name="T5" fmla="*/ 10 h 96"/>
              <a:gd name="T6" fmla="*/ 44 w 84"/>
              <a:gd name="T7" fmla="*/ 1 h 96"/>
              <a:gd name="T8" fmla="*/ 40 w 84"/>
              <a:gd name="T9" fmla="*/ 1 h 96"/>
              <a:gd name="T10" fmla="*/ 22 w 84"/>
              <a:gd name="T11" fmla="*/ 10 h 96"/>
              <a:gd name="T12" fmla="*/ 3 w 84"/>
              <a:gd name="T13" fmla="*/ 2 h 96"/>
              <a:gd name="T14" fmla="*/ 1 w 84"/>
              <a:gd name="T15" fmla="*/ 2 h 96"/>
              <a:gd name="T16" fmla="*/ 0 w 84"/>
              <a:gd name="T17" fmla="*/ 4 h 96"/>
              <a:gd name="T18" fmla="*/ 0 w 84"/>
              <a:gd name="T19" fmla="*/ 64 h 96"/>
              <a:gd name="T20" fmla="*/ 41 w 84"/>
              <a:gd name="T21" fmla="*/ 96 h 96"/>
              <a:gd name="T22" fmla="*/ 42 w 84"/>
              <a:gd name="T23" fmla="*/ 96 h 96"/>
              <a:gd name="T24" fmla="*/ 43 w 84"/>
              <a:gd name="T25" fmla="*/ 96 h 96"/>
              <a:gd name="T26" fmla="*/ 84 w 84"/>
              <a:gd name="T27" fmla="*/ 64 h 96"/>
              <a:gd name="T28" fmla="*/ 84 w 84"/>
              <a:gd name="T29" fmla="*/ 4 h 96"/>
              <a:gd name="T30" fmla="*/ 83 w 84"/>
              <a:gd name="T31" fmla="*/ 2 h 96"/>
              <a:gd name="T32" fmla="*/ 60 w 84"/>
              <a:gd name="T33" fmla="*/ 50 h 96"/>
              <a:gd name="T34" fmla="*/ 50 w 84"/>
              <a:gd name="T35" fmla="*/ 50 h 96"/>
              <a:gd name="T36" fmla="*/ 48 w 84"/>
              <a:gd name="T37" fmla="*/ 52 h 96"/>
              <a:gd name="T38" fmla="*/ 48 w 84"/>
              <a:gd name="T39" fmla="*/ 62 h 96"/>
              <a:gd name="T40" fmla="*/ 36 w 84"/>
              <a:gd name="T41" fmla="*/ 62 h 96"/>
              <a:gd name="T42" fmla="*/ 36 w 84"/>
              <a:gd name="T43" fmla="*/ 52 h 96"/>
              <a:gd name="T44" fmla="*/ 34 w 84"/>
              <a:gd name="T45" fmla="*/ 50 h 96"/>
              <a:gd name="T46" fmla="*/ 24 w 84"/>
              <a:gd name="T47" fmla="*/ 50 h 96"/>
              <a:gd name="T48" fmla="*/ 24 w 84"/>
              <a:gd name="T49" fmla="*/ 38 h 96"/>
              <a:gd name="T50" fmla="*/ 34 w 84"/>
              <a:gd name="T51" fmla="*/ 38 h 96"/>
              <a:gd name="T52" fmla="*/ 36 w 84"/>
              <a:gd name="T53" fmla="*/ 36 h 96"/>
              <a:gd name="T54" fmla="*/ 36 w 84"/>
              <a:gd name="T55" fmla="*/ 26 h 96"/>
              <a:gd name="T56" fmla="*/ 48 w 84"/>
              <a:gd name="T57" fmla="*/ 26 h 96"/>
              <a:gd name="T58" fmla="*/ 48 w 84"/>
              <a:gd name="T59" fmla="*/ 36 h 96"/>
              <a:gd name="T60" fmla="*/ 50 w 84"/>
              <a:gd name="T61" fmla="*/ 38 h 96"/>
              <a:gd name="T62" fmla="*/ 60 w 84"/>
              <a:gd name="T63" fmla="*/ 38 h 96"/>
              <a:gd name="T64" fmla="*/ 60 w 84"/>
              <a:gd name="T65"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96">
                <a:moveTo>
                  <a:pt x="83" y="2"/>
                </a:moveTo>
                <a:cubicBezTo>
                  <a:pt x="82" y="2"/>
                  <a:pt x="81" y="2"/>
                  <a:pt x="81" y="2"/>
                </a:cubicBezTo>
                <a:cubicBezTo>
                  <a:pt x="74" y="7"/>
                  <a:pt x="68" y="10"/>
                  <a:pt x="62" y="10"/>
                </a:cubicBezTo>
                <a:cubicBezTo>
                  <a:pt x="55" y="10"/>
                  <a:pt x="48" y="6"/>
                  <a:pt x="44" y="1"/>
                </a:cubicBezTo>
                <a:cubicBezTo>
                  <a:pt x="43" y="0"/>
                  <a:pt x="41" y="0"/>
                  <a:pt x="40" y="1"/>
                </a:cubicBezTo>
                <a:cubicBezTo>
                  <a:pt x="36" y="6"/>
                  <a:pt x="29" y="10"/>
                  <a:pt x="22" y="10"/>
                </a:cubicBezTo>
                <a:cubicBezTo>
                  <a:pt x="16" y="10"/>
                  <a:pt x="10" y="7"/>
                  <a:pt x="3" y="2"/>
                </a:cubicBezTo>
                <a:cubicBezTo>
                  <a:pt x="3" y="2"/>
                  <a:pt x="2" y="2"/>
                  <a:pt x="1" y="2"/>
                </a:cubicBezTo>
                <a:cubicBezTo>
                  <a:pt x="0" y="3"/>
                  <a:pt x="0" y="3"/>
                  <a:pt x="0" y="4"/>
                </a:cubicBezTo>
                <a:cubicBezTo>
                  <a:pt x="0" y="64"/>
                  <a:pt x="0" y="64"/>
                  <a:pt x="0" y="64"/>
                </a:cubicBezTo>
                <a:cubicBezTo>
                  <a:pt x="0" y="64"/>
                  <a:pt x="7" y="86"/>
                  <a:pt x="41" y="96"/>
                </a:cubicBezTo>
                <a:cubicBezTo>
                  <a:pt x="42" y="96"/>
                  <a:pt x="42" y="96"/>
                  <a:pt x="42" y="96"/>
                </a:cubicBezTo>
                <a:cubicBezTo>
                  <a:pt x="42" y="96"/>
                  <a:pt x="42" y="96"/>
                  <a:pt x="43" y="96"/>
                </a:cubicBezTo>
                <a:cubicBezTo>
                  <a:pt x="77" y="86"/>
                  <a:pt x="84" y="64"/>
                  <a:pt x="84" y="64"/>
                </a:cubicBezTo>
                <a:cubicBezTo>
                  <a:pt x="84" y="4"/>
                  <a:pt x="84" y="4"/>
                  <a:pt x="84" y="4"/>
                </a:cubicBezTo>
                <a:cubicBezTo>
                  <a:pt x="84" y="3"/>
                  <a:pt x="84" y="3"/>
                  <a:pt x="83" y="2"/>
                </a:cubicBezTo>
                <a:close/>
                <a:moveTo>
                  <a:pt x="60" y="50"/>
                </a:moveTo>
                <a:cubicBezTo>
                  <a:pt x="50" y="50"/>
                  <a:pt x="50" y="50"/>
                  <a:pt x="50" y="50"/>
                </a:cubicBezTo>
                <a:cubicBezTo>
                  <a:pt x="49" y="50"/>
                  <a:pt x="48" y="51"/>
                  <a:pt x="48" y="52"/>
                </a:cubicBezTo>
                <a:cubicBezTo>
                  <a:pt x="48" y="62"/>
                  <a:pt x="48" y="62"/>
                  <a:pt x="48" y="62"/>
                </a:cubicBezTo>
                <a:cubicBezTo>
                  <a:pt x="36" y="62"/>
                  <a:pt x="36" y="62"/>
                  <a:pt x="36" y="62"/>
                </a:cubicBezTo>
                <a:cubicBezTo>
                  <a:pt x="36" y="52"/>
                  <a:pt x="36" y="52"/>
                  <a:pt x="36" y="52"/>
                </a:cubicBezTo>
                <a:cubicBezTo>
                  <a:pt x="36" y="51"/>
                  <a:pt x="35" y="50"/>
                  <a:pt x="34" y="50"/>
                </a:cubicBezTo>
                <a:cubicBezTo>
                  <a:pt x="24" y="50"/>
                  <a:pt x="24" y="50"/>
                  <a:pt x="24" y="50"/>
                </a:cubicBezTo>
                <a:cubicBezTo>
                  <a:pt x="24" y="38"/>
                  <a:pt x="24" y="38"/>
                  <a:pt x="24" y="38"/>
                </a:cubicBezTo>
                <a:cubicBezTo>
                  <a:pt x="34" y="38"/>
                  <a:pt x="34" y="38"/>
                  <a:pt x="34" y="38"/>
                </a:cubicBezTo>
                <a:cubicBezTo>
                  <a:pt x="35" y="38"/>
                  <a:pt x="36" y="37"/>
                  <a:pt x="36" y="36"/>
                </a:cubicBezTo>
                <a:cubicBezTo>
                  <a:pt x="36" y="26"/>
                  <a:pt x="36" y="26"/>
                  <a:pt x="36" y="26"/>
                </a:cubicBezTo>
                <a:cubicBezTo>
                  <a:pt x="48" y="26"/>
                  <a:pt x="48" y="26"/>
                  <a:pt x="48" y="26"/>
                </a:cubicBezTo>
                <a:cubicBezTo>
                  <a:pt x="48" y="36"/>
                  <a:pt x="48" y="36"/>
                  <a:pt x="48" y="36"/>
                </a:cubicBezTo>
                <a:cubicBezTo>
                  <a:pt x="48" y="37"/>
                  <a:pt x="49" y="38"/>
                  <a:pt x="50" y="38"/>
                </a:cubicBezTo>
                <a:cubicBezTo>
                  <a:pt x="60" y="38"/>
                  <a:pt x="60" y="38"/>
                  <a:pt x="60" y="38"/>
                </a:cubicBezTo>
                <a:lnTo>
                  <a:pt x="60" y="50"/>
                </a:lnTo>
                <a:close/>
              </a:path>
            </a:pathLst>
          </a:custGeom>
          <a:gradFill>
            <a:gsLst>
              <a:gs pos="0">
                <a:srgbClr val="1CADE4"/>
              </a:gs>
              <a:gs pos="79000">
                <a:srgbClr val="42BA97"/>
              </a:gs>
            </a:gsLst>
            <a:lin ang="5400000" scaled="1"/>
          </a:gradFill>
          <a:ln w="12700" cap="flat" cmpd="sng" algn="ctr">
            <a:noFill/>
            <a:prstDash val="solid"/>
            <a:miter lim="800000"/>
          </a:ln>
          <a:effectLst/>
        </p:spPr>
        <p:txBody>
          <a:bodyPr rtlCol="0" anchor="ctr"/>
          <a:lstStyle/>
          <a:p>
            <a:pPr algn="ctr"/>
            <a:endParaRPr lang="id-ID" kern="0">
              <a:solidFill>
                <a:prstClr val="white"/>
              </a:solidFill>
              <a:latin typeface="Calibri" panose="020F0502020204030204"/>
            </a:endParaRPr>
          </a:p>
        </p:txBody>
      </p:sp>
    </p:spTree>
    <p:extLst>
      <p:ext uri="{BB962C8B-B14F-4D97-AF65-F5344CB8AC3E}">
        <p14:creationId xmlns:p14="http://schemas.microsoft.com/office/powerpoint/2010/main" val="276776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arn(inVertical)">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 xmlns:a16="http://schemas.microsoft.com/office/drawing/2014/main" id="{478C40C7-FCC2-144F-878D-487B98263E9C}"/>
              </a:ext>
            </a:extLst>
          </p:cNvPr>
          <p:cNvGrpSpPr/>
          <p:nvPr/>
        </p:nvGrpSpPr>
        <p:grpSpPr>
          <a:xfrm>
            <a:off x="-53706" y="-4425"/>
            <a:ext cx="5742869" cy="6563696"/>
            <a:chOff x="-53706" y="-4425"/>
            <a:chExt cx="5742869" cy="6563696"/>
          </a:xfrm>
        </p:grpSpPr>
        <p:pic>
          <p:nvPicPr>
            <p:cNvPr id="62" name="Picture 61">
              <a:extLst>
                <a:ext uri="{FF2B5EF4-FFF2-40B4-BE49-F238E27FC236}">
                  <a16:creationId xmlns="" xmlns:a16="http://schemas.microsoft.com/office/drawing/2014/main" id="{7EB789D8-EEB5-6640-931F-B72B0F01B5D7}"/>
                </a:ext>
              </a:extLst>
            </p:cNvPr>
            <p:cNvPicPr>
              <a:picLocks noChangeAspect="1"/>
            </p:cNvPicPr>
            <p:nvPr/>
          </p:nvPicPr>
          <p:blipFill>
            <a:blip r:embed="rId2"/>
            <a:srcRect l="9652" t="55345" r="72171" b="1457"/>
            <a:stretch>
              <a:fillRect/>
            </a:stretch>
          </p:blipFill>
          <p:spPr>
            <a:xfrm>
              <a:off x="-53704" y="3596708"/>
              <a:ext cx="1869849" cy="2962563"/>
            </a:xfrm>
            <a:custGeom>
              <a:avLst/>
              <a:gdLst>
                <a:gd name="connsiteX0" fmla="*/ 0 w 1869849"/>
                <a:gd name="connsiteY0" fmla="*/ 0 h 2962563"/>
                <a:gd name="connsiteX1" fmla="*/ 1619393 w 1869849"/>
                <a:gd name="connsiteY1" fmla="*/ 1557681 h 2962563"/>
                <a:gd name="connsiteX2" fmla="*/ 1641816 w 1869849"/>
                <a:gd name="connsiteY2" fmla="*/ 2712108 h 2962563"/>
                <a:gd name="connsiteX3" fmla="*/ 1641816 w 1869849"/>
                <a:gd name="connsiteY3" fmla="*/ 2712107 h 2962563"/>
                <a:gd name="connsiteX4" fmla="*/ 487389 w 1869849"/>
                <a:gd name="connsiteY4" fmla="*/ 2734531 h 2962563"/>
                <a:gd name="connsiteX5" fmla="*/ 0 w 1869849"/>
                <a:gd name="connsiteY5" fmla="*/ 2265716 h 296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9849" h="2962563">
                  <a:moveTo>
                    <a:pt x="0" y="0"/>
                  </a:moveTo>
                  <a:lnTo>
                    <a:pt x="1619393" y="1557681"/>
                  </a:lnTo>
                  <a:cubicBezTo>
                    <a:pt x="1944371" y="1870275"/>
                    <a:pt x="1954411" y="2387129"/>
                    <a:pt x="1641816" y="2712108"/>
                  </a:cubicBezTo>
                  <a:lnTo>
                    <a:pt x="1641816" y="2712107"/>
                  </a:lnTo>
                  <a:cubicBezTo>
                    <a:pt x="1329222" y="3037086"/>
                    <a:pt x="812367" y="3047125"/>
                    <a:pt x="487389" y="2734531"/>
                  </a:cubicBezTo>
                  <a:lnTo>
                    <a:pt x="0" y="2265716"/>
                  </a:lnTo>
                  <a:close/>
                </a:path>
              </a:pathLst>
            </a:custGeom>
          </p:spPr>
        </p:pic>
        <p:pic>
          <p:nvPicPr>
            <p:cNvPr id="60" name="Picture 59">
              <a:extLst>
                <a:ext uri="{FF2B5EF4-FFF2-40B4-BE49-F238E27FC236}">
                  <a16:creationId xmlns="" xmlns:a16="http://schemas.microsoft.com/office/drawing/2014/main" id="{456B6F8E-D40C-014D-9933-B6415FB87FC8}"/>
                </a:ext>
              </a:extLst>
            </p:cNvPr>
            <p:cNvPicPr>
              <a:picLocks noChangeAspect="1"/>
            </p:cNvPicPr>
            <p:nvPr/>
          </p:nvPicPr>
          <p:blipFill>
            <a:blip r:embed="rId2"/>
            <a:srcRect l="9652" t="18457" r="51715" b="8829"/>
            <a:stretch>
              <a:fillRect/>
            </a:stretch>
          </p:blipFill>
          <p:spPr>
            <a:xfrm>
              <a:off x="-53706" y="1066979"/>
              <a:ext cx="3974198" cy="4986719"/>
            </a:xfrm>
            <a:custGeom>
              <a:avLst/>
              <a:gdLst>
                <a:gd name="connsiteX0" fmla="*/ 0 w 3974198"/>
                <a:gd name="connsiteY0" fmla="*/ 0 h 4986719"/>
                <a:gd name="connsiteX1" fmla="*/ 3723742 w 3974198"/>
                <a:gd name="connsiteY1" fmla="*/ 3581837 h 4986719"/>
                <a:gd name="connsiteX2" fmla="*/ 3746166 w 3974198"/>
                <a:gd name="connsiteY2" fmla="*/ 4736264 h 4986719"/>
                <a:gd name="connsiteX3" fmla="*/ 3746165 w 3974198"/>
                <a:gd name="connsiteY3" fmla="*/ 4736263 h 4986719"/>
                <a:gd name="connsiteX4" fmla="*/ 2591738 w 3974198"/>
                <a:gd name="connsiteY4" fmla="*/ 4758687 h 4986719"/>
                <a:gd name="connsiteX5" fmla="*/ 0 w 3974198"/>
                <a:gd name="connsiteY5" fmla="*/ 2265715 h 498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4198" h="4986719">
                  <a:moveTo>
                    <a:pt x="0" y="0"/>
                  </a:moveTo>
                  <a:lnTo>
                    <a:pt x="3723742" y="3581837"/>
                  </a:lnTo>
                  <a:cubicBezTo>
                    <a:pt x="4048720" y="3894431"/>
                    <a:pt x="4058760" y="4411285"/>
                    <a:pt x="3746166" y="4736264"/>
                  </a:cubicBezTo>
                  <a:lnTo>
                    <a:pt x="3746165" y="4736263"/>
                  </a:lnTo>
                  <a:cubicBezTo>
                    <a:pt x="3433571" y="5061242"/>
                    <a:pt x="2916716" y="5071281"/>
                    <a:pt x="2591738" y="4758687"/>
                  </a:cubicBezTo>
                  <a:lnTo>
                    <a:pt x="0" y="2265715"/>
                  </a:lnTo>
                  <a:close/>
                </a:path>
              </a:pathLst>
            </a:custGeom>
          </p:spPr>
        </p:pic>
        <p:pic>
          <p:nvPicPr>
            <p:cNvPr id="58" name="Picture 57">
              <a:extLst>
                <a:ext uri="{FF2B5EF4-FFF2-40B4-BE49-F238E27FC236}">
                  <a16:creationId xmlns="" xmlns:a16="http://schemas.microsoft.com/office/drawing/2014/main" id="{E95EB35C-DA0D-BF4F-BEB1-1CF9C9CC9A16}"/>
                </a:ext>
              </a:extLst>
            </p:cNvPr>
            <p:cNvPicPr>
              <a:picLocks noChangeAspect="1"/>
            </p:cNvPicPr>
            <p:nvPr/>
          </p:nvPicPr>
          <p:blipFill>
            <a:blip r:embed="rId2"/>
            <a:srcRect l="9652" t="2835" r="34521" b="20656"/>
            <a:stretch>
              <a:fillRect/>
            </a:stretch>
          </p:blipFill>
          <p:spPr>
            <a:xfrm>
              <a:off x="-53704" y="-4423"/>
              <a:ext cx="5742867" cy="5247021"/>
            </a:xfrm>
            <a:custGeom>
              <a:avLst/>
              <a:gdLst>
                <a:gd name="connsiteX0" fmla="*/ 0 w 5742867"/>
                <a:gd name="connsiteY0" fmla="*/ 0 h 5247021"/>
                <a:gd name="connsiteX1" fmla="*/ 1498054 w 5742867"/>
                <a:gd name="connsiteY1" fmla="*/ 0 h 5247021"/>
                <a:gd name="connsiteX2" fmla="*/ 5492411 w 5742867"/>
                <a:gd name="connsiteY2" fmla="*/ 3842139 h 5247021"/>
                <a:gd name="connsiteX3" fmla="*/ 5514835 w 5742867"/>
                <a:gd name="connsiteY3" fmla="*/ 4996566 h 5247021"/>
                <a:gd name="connsiteX4" fmla="*/ 5514834 w 5742867"/>
                <a:gd name="connsiteY4" fmla="*/ 4996565 h 5247021"/>
                <a:gd name="connsiteX5" fmla="*/ 4360407 w 5742867"/>
                <a:gd name="connsiteY5" fmla="*/ 5018989 h 5247021"/>
                <a:gd name="connsiteX6" fmla="*/ 0 w 5742867"/>
                <a:gd name="connsiteY6" fmla="*/ 824748 h 524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2867" h="5247021">
                  <a:moveTo>
                    <a:pt x="0" y="0"/>
                  </a:moveTo>
                  <a:lnTo>
                    <a:pt x="1498054" y="0"/>
                  </a:lnTo>
                  <a:lnTo>
                    <a:pt x="5492411" y="3842139"/>
                  </a:lnTo>
                  <a:cubicBezTo>
                    <a:pt x="5817389" y="4154733"/>
                    <a:pt x="5827429" y="4671587"/>
                    <a:pt x="5514835" y="4996566"/>
                  </a:cubicBezTo>
                  <a:lnTo>
                    <a:pt x="5514834" y="4996565"/>
                  </a:lnTo>
                  <a:cubicBezTo>
                    <a:pt x="5202240" y="5321544"/>
                    <a:pt x="4685386" y="5331583"/>
                    <a:pt x="4360407" y="5018989"/>
                  </a:cubicBezTo>
                  <a:lnTo>
                    <a:pt x="0" y="824748"/>
                  </a:lnTo>
                  <a:close/>
                </a:path>
              </a:pathLst>
            </a:custGeom>
          </p:spPr>
        </p:pic>
        <p:pic>
          <p:nvPicPr>
            <p:cNvPr id="56" name="Picture 55">
              <a:extLst>
                <a:ext uri="{FF2B5EF4-FFF2-40B4-BE49-F238E27FC236}">
                  <a16:creationId xmlns="" xmlns:a16="http://schemas.microsoft.com/office/drawing/2014/main" id="{20A0E439-CB9B-E343-AEF6-C7FA7FD4F8B8}"/>
                </a:ext>
              </a:extLst>
            </p:cNvPr>
            <p:cNvPicPr>
              <a:picLocks noChangeAspect="1"/>
            </p:cNvPicPr>
            <p:nvPr/>
          </p:nvPicPr>
          <p:blipFill>
            <a:blip r:embed="rId2"/>
            <a:srcRect l="26682" t="2835" r="35507" b="58674"/>
            <a:stretch>
              <a:fillRect/>
            </a:stretch>
          </p:blipFill>
          <p:spPr>
            <a:xfrm>
              <a:off x="1698122" y="-4425"/>
              <a:ext cx="3889685" cy="2639712"/>
            </a:xfrm>
            <a:custGeom>
              <a:avLst/>
              <a:gdLst>
                <a:gd name="connsiteX0" fmla="*/ 0 w 3889685"/>
                <a:gd name="connsiteY0" fmla="*/ 0 h 2639712"/>
                <a:gd name="connsiteX1" fmla="*/ 2355478 w 3889685"/>
                <a:gd name="connsiteY1" fmla="*/ 0 h 2639712"/>
                <a:gd name="connsiteX2" fmla="*/ 3639229 w 3889685"/>
                <a:gd name="connsiteY2" fmla="*/ 1234830 h 2639712"/>
                <a:gd name="connsiteX3" fmla="*/ 3661653 w 3889685"/>
                <a:gd name="connsiteY3" fmla="*/ 2389257 h 2639712"/>
                <a:gd name="connsiteX4" fmla="*/ 3661652 w 3889685"/>
                <a:gd name="connsiteY4" fmla="*/ 2389256 h 2639712"/>
                <a:gd name="connsiteX5" fmla="*/ 2507225 w 3889685"/>
                <a:gd name="connsiteY5" fmla="*/ 2411680 h 263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9685" h="2639712">
                  <a:moveTo>
                    <a:pt x="0" y="0"/>
                  </a:moveTo>
                  <a:lnTo>
                    <a:pt x="2355478" y="0"/>
                  </a:lnTo>
                  <a:lnTo>
                    <a:pt x="3639229" y="1234830"/>
                  </a:lnTo>
                  <a:cubicBezTo>
                    <a:pt x="3964207" y="1547424"/>
                    <a:pt x="3974247" y="2064278"/>
                    <a:pt x="3661653" y="2389257"/>
                  </a:cubicBezTo>
                  <a:lnTo>
                    <a:pt x="3661652" y="2389256"/>
                  </a:lnTo>
                  <a:cubicBezTo>
                    <a:pt x="3349058" y="2714235"/>
                    <a:pt x="2832204" y="2724274"/>
                    <a:pt x="2507225" y="2411680"/>
                  </a:cubicBezTo>
                  <a:close/>
                </a:path>
              </a:pathLst>
            </a:custGeom>
          </p:spPr>
        </p:pic>
      </p:grpSp>
      <p:grpSp>
        <p:nvGrpSpPr>
          <p:cNvPr id="12" name="Group 11">
            <a:extLst>
              <a:ext uri="{FF2B5EF4-FFF2-40B4-BE49-F238E27FC236}">
                <a16:creationId xmlns="" xmlns:a16="http://schemas.microsoft.com/office/drawing/2014/main" id="{2556B53E-2D85-FA4A-B258-5A9C4131AC19}"/>
              </a:ext>
            </a:extLst>
          </p:cNvPr>
          <p:cNvGrpSpPr/>
          <p:nvPr/>
        </p:nvGrpSpPr>
        <p:grpSpPr>
          <a:xfrm>
            <a:off x="5587807" y="363894"/>
            <a:ext cx="6486006" cy="5689804"/>
            <a:chOff x="2762684" y="1698466"/>
            <a:chExt cx="3168362" cy="2011680"/>
          </a:xfrm>
        </p:grpSpPr>
        <p:sp>
          <p:nvSpPr>
            <p:cNvPr id="13" name="Oval 12">
              <a:extLst>
                <a:ext uri="{FF2B5EF4-FFF2-40B4-BE49-F238E27FC236}">
                  <a16:creationId xmlns="" xmlns:a16="http://schemas.microsoft.com/office/drawing/2014/main" id="{79CDF627-F95C-524C-8C0A-4889A183E676}"/>
                </a:ext>
              </a:extLst>
            </p:cNvPr>
            <p:cNvSpPr/>
            <p:nvPr/>
          </p:nvSpPr>
          <p:spPr>
            <a:xfrm>
              <a:off x="2762684" y="1698466"/>
              <a:ext cx="3168362" cy="2011680"/>
            </a:xfrm>
            <a:prstGeom prst="ellipse">
              <a:avLst/>
            </a:prstGeom>
            <a:gradFill>
              <a:gsLst>
                <a:gs pos="0">
                  <a:srgbClr val="1CADE4"/>
                </a:gs>
                <a:gs pos="100000">
                  <a:srgbClr val="42BA97"/>
                </a:gs>
              </a:gsLst>
              <a:lin ang="5400000" scaled="1"/>
            </a:gradFill>
            <a:ln w="12700" cap="flat" cmpd="sng" algn="ctr">
              <a:noFill/>
              <a:prstDash val="solid"/>
              <a:miter lim="800000"/>
            </a:ln>
            <a:effectLst>
              <a:outerShdw blurRad="330200" dist="50800" dir="5400000" algn="ctr" rotWithShape="0">
                <a:srgbClr val="000000">
                  <a:alpha val="43137"/>
                </a:srgbClr>
              </a:outerShdw>
            </a:effectLst>
          </p:spPr>
          <p:txBody>
            <a:bodyPr rtlCol="0" anchor="ctr"/>
            <a:lstStyle/>
            <a:p>
              <a:pPr algn="ctr">
                <a:defRPr/>
              </a:pPr>
              <a:r>
                <a:rPr lang="en-US" sz="4000" b="1" spc="-150" dirty="0">
                  <a:solidFill>
                    <a:schemeClr val="accent1">
                      <a:lumMod val="50000"/>
                    </a:schemeClr>
                  </a:solidFill>
                  <a:latin typeface="Segoe UI" panose="020B0502040204020203" pitchFamily="34" charset="0"/>
                  <a:ea typeface="Source Sans Pro" panose="020B0503030403020204" pitchFamily="34" charset="0"/>
                  <a:cs typeface="Segoe UI" panose="020B0502040204020203" pitchFamily="34" charset="0"/>
                </a:rPr>
                <a:t>Findings &amp; Insight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 xmlns:a16="http://schemas.microsoft.com/office/drawing/2014/main" id="{59BFFBAD-BCE1-5A47-A06E-67AA2D290A63}"/>
                </a:ext>
              </a:extLst>
            </p:cNvPr>
            <p:cNvSpPr txBox="1"/>
            <p:nvPr/>
          </p:nvSpPr>
          <p:spPr>
            <a:xfrm>
              <a:off x="3639768" y="2968564"/>
              <a:ext cx="196942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1" u="none" strike="noStrike" kern="0" cap="none" spc="0" normalizeH="0" baseline="0" noProof="0" dirty="0">
                <a:ln>
                  <a:noFill/>
                </a:ln>
                <a:solidFill>
                  <a:prstClr val="white"/>
                </a:solidFill>
                <a:effectLst/>
                <a:uLnTx/>
                <a:uFillTx/>
                <a:latin typeface="Segoe UI" panose="020B0502040204020203" pitchFamily="34" charset="0"/>
                <a:ea typeface="Open Sans" panose="020B0606030504020204" pitchFamily="34" charset="0"/>
                <a:cs typeface="Segoe UI" panose="020B0502040204020203" pitchFamily="34" charset="0"/>
              </a:endParaRPr>
            </a:p>
          </p:txBody>
        </p:sp>
      </p:grpSp>
    </p:spTree>
    <p:extLst>
      <p:ext uri="{BB962C8B-B14F-4D97-AF65-F5344CB8AC3E}">
        <p14:creationId xmlns:p14="http://schemas.microsoft.com/office/powerpoint/2010/main" val="2811068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0" y="-46653"/>
            <a:ext cx="7549910" cy="954107"/>
          </a:xfrm>
          <a:prstGeom prst="rect">
            <a:avLst/>
          </a:prstGeom>
          <a:noFill/>
        </p:spPr>
        <p:txBody>
          <a:bodyPr wrap="square" rtlCol="0">
            <a:spAutoFit/>
          </a:bodyPr>
          <a:lstStyle/>
          <a:p>
            <a:pPr algn="ctr"/>
            <a:r>
              <a:rPr lang="en-US" sz="2800" b="1" spc="-150" dirty="0">
                <a:solidFill>
                  <a:srgbClr val="1CADE4"/>
                </a:solidFill>
                <a:latin typeface="Segoe UI" panose="020B0502040204020203" pitchFamily="34" charset="0"/>
                <a:cs typeface="Segoe UI" panose="020B0502040204020203" pitchFamily="34" charset="0"/>
              </a:rPr>
              <a:t>KPI-1</a:t>
            </a:r>
          </a:p>
          <a:p>
            <a:pPr algn="ctr"/>
            <a:endParaRPr lang="en-US" sz="2800" b="1" spc="-150" dirty="0">
              <a:solidFill>
                <a:prstClr val="black">
                  <a:lumMod val="75000"/>
                  <a:lumOff val="25000"/>
                </a:prst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194389" y="523221"/>
            <a:ext cx="7380514" cy="6100807"/>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ctr"/>
          <a:lstStyle/>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Times New Roman" panose="02020603050405020304" pitchFamily="18" charset="0"/>
                <a:cs typeface="Times New Roman" panose="02020603050405020304" pitchFamily="18" charset="0"/>
              </a:rPr>
              <a:t>A higher number of patients in survival summary indicates better patient outcomes. </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Hypercalcemia and high serum phosphorus levels are common complications can lead to bone disease, cardiovascular disease, and even death, by controlling serum phosphorus levels can improve survival rates and reduce the risk of complications. </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Fistulas and catheters are two common methods used for dialysis treatment. While fistulas are generally considered the preferred option, they can be difficult to create and maintain. </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Catheters are easier to use but have a higher risk of infection.</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Hospitalization can be stressful for patients and their families, as well as costly for healthcare systems. </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Normalized protein catabolic rate (</a:t>
            </a:r>
            <a:r>
              <a:rPr lang="en-AE" sz="1600" dirty="0" err="1">
                <a:effectLst/>
                <a:latin typeface="Times New Roman" panose="02020603050405020304" pitchFamily="18" charset="0"/>
                <a:ea typeface="Calibri" panose="020F0502020204030204" pitchFamily="34" charset="0"/>
                <a:cs typeface="Times New Roman" panose="02020603050405020304" pitchFamily="18" charset="0"/>
              </a:rPr>
              <a:t>nPCR</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 is a measure of protein intake and metabolism among dialysis patients</a:t>
            </a:r>
            <a:endParaRPr lang="en-AE" sz="1600" dirty="0">
              <a:latin typeface="Times New Roman" panose="02020603050405020304" pitchFamily="18"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H</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ealthcare providers can work with patients to develop personalized nutrition plans and provide education on the importance of proper nutrition. </a:t>
            </a:r>
          </a:p>
          <a:p>
            <a:pPr>
              <a:lnSpc>
                <a:spcPct val="107000"/>
              </a:lnSpc>
              <a:spcAft>
                <a:spcPts val="800"/>
              </a:spcAft>
            </a:pPr>
            <a:r>
              <a:rPr lang="en-AE" sz="1600" b="1" dirty="0">
                <a:latin typeface="Times New Roman" panose="02020603050405020304" pitchFamily="18" charset="0"/>
                <a:ea typeface="Calibri" panose="020F0502020204030204" pitchFamily="34" charset="0"/>
                <a:cs typeface="Times New Roman" panose="02020603050405020304" pitchFamily="18" charset="0"/>
              </a:rPr>
              <a:t>Solution:</a:t>
            </a:r>
            <a:endParaRPr lang="en-AE" sz="1600" b="1"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85750" indent="-285750">
              <a:lnSpc>
                <a:spcPct val="107000"/>
              </a:lnSpc>
              <a:spcAft>
                <a:spcPts val="800"/>
              </a:spcAft>
              <a:buFont typeface="Wingdings" panose="05000000000000000000" pitchFamily="2" charset="2"/>
              <a:buChar char="Ø"/>
            </a:pPr>
            <a:r>
              <a:rPr lang="en-US" sz="1600" dirty="0">
                <a:latin typeface="Times New Roman" panose="02020603050405020304" pitchFamily="18" charset="0"/>
                <a:cs typeface="Times New Roman" panose="02020603050405020304" pitchFamily="18" charset="0"/>
              </a:rPr>
              <a:t>Improving patient outcomes requires a collaborative effort between healthcare professionals, patients, and their families. </a:t>
            </a:r>
            <a:endParaRPr lang="en-AE" sz="1600" dirty="0">
              <a:latin typeface="Times New Roman" panose="02020603050405020304" pitchFamily="18" charset="0"/>
              <a:ea typeface="Calibri" panose="020F0502020204030204" pitchFamily="34" charset="0"/>
              <a:cs typeface="Times New Roman" panose="02020603050405020304" pitchFamily="18" charset="0"/>
            </a:endParaRPr>
          </a:p>
        </p:txBody>
      </p:sp>
      <p:graphicFrame>
        <p:nvGraphicFramePr>
          <p:cNvPr id="2" name="Chart 1">
            <a:extLst>
              <a:ext uri="{FF2B5EF4-FFF2-40B4-BE49-F238E27FC236}">
                <a16:creationId xmlns="" xmlns:a16="http://schemas.microsoft.com/office/drawing/2014/main" id="{00000000-0008-0000-0800-000011000000}"/>
              </a:ext>
            </a:extLst>
          </p:cNvPr>
          <p:cNvGraphicFramePr>
            <a:graphicFrameLocks/>
          </p:cNvGraphicFramePr>
          <p:nvPr>
            <p:extLst>
              <p:ext uri="{D42A27DB-BD31-4B8C-83A1-F6EECF244321}">
                <p14:modId xmlns:p14="http://schemas.microsoft.com/office/powerpoint/2010/main" val="3602582224"/>
              </p:ext>
            </p:extLst>
          </p:nvPr>
        </p:nvGraphicFramePr>
        <p:xfrm>
          <a:off x="7632441" y="-65314"/>
          <a:ext cx="4575753" cy="69233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397913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405083" y="0"/>
            <a:ext cx="7099946" cy="523221"/>
          </a:xfrm>
          <a:prstGeom prst="rect">
            <a:avLst/>
          </a:prstGeom>
          <a:noFill/>
        </p:spPr>
        <p:txBody>
          <a:bodyPr wrap="square" rtlCol="0">
            <a:spAutoFit/>
          </a:bodyPr>
          <a:lstStyle/>
          <a:p>
            <a:pPr algn="ctr"/>
            <a:r>
              <a:rPr lang="en-US" sz="2800" b="1" spc="-150" dirty="0">
                <a:solidFill>
                  <a:srgbClr val="1CADE4"/>
                </a:solidFill>
                <a:latin typeface="Segoe UI" panose="020B0502040204020203" pitchFamily="34" charset="0"/>
                <a:ea typeface="Source Sans Pro" panose="020B0503030403020204" pitchFamily="34" charset="0"/>
                <a:cs typeface="Segoe UI" panose="020B0502040204020203" pitchFamily="34" charset="0"/>
              </a:rPr>
              <a:t>KPI - 2</a:t>
            </a:r>
            <a:endParaRPr lang="en-US" sz="2800" b="1" spc="-150" dirty="0">
              <a:solidFill>
                <a:prstClr val="black">
                  <a:lumMod val="75000"/>
                  <a:lumOff val="25000"/>
                </a:prst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345948" y="497052"/>
            <a:ext cx="7099946" cy="6175042"/>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a:lnSpc>
                <a:spcPct val="107000"/>
              </a:lnSpc>
              <a:spcAft>
                <a:spcPts val="800"/>
              </a:spcAft>
            </a:pPr>
            <a:r>
              <a:rPr lang="en-AE" sz="1600" kern="0" dirty="0">
                <a:effectLst/>
                <a:latin typeface="Times New Roman" panose="02020603050405020304" pitchFamily="18" charset="0"/>
                <a:ea typeface="Times New Roman" panose="02020603050405020304" pitchFamily="18" charset="0"/>
                <a:cs typeface="Times New Roman" panose="02020603050405020304" pitchFamily="18" charset="0"/>
              </a:rPr>
              <a:t>This one is important because it can reveal valuable information about the healthcare industry.</a:t>
            </a:r>
          </a:p>
          <a:p>
            <a:pPr>
              <a:lnSpc>
                <a:spcPct val="107000"/>
              </a:lnSpc>
              <a:spcAft>
                <a:spcPts val="800"/>
              </a:spcAft>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Based on the data, higher number of profit facilities when compared to non-profit facilities. </a:t>
            </a:r>
          </a:p>
          <a:p>
            <a:pPr>
              <a:lnSpc>
                <a:spcPct val="107000"/>
              </a:lnSpc>
              <a:spcAft>
                <a:spcPts val="800"/>
              </a:spcAft>
            </a:pPr>
            <a:r>
              <a:rPr lang="en-AE" sz="1600" b="1" dirty="0">
                <a:effectLst/>
                <a:latin typeface="Times New Roman" panose="02020603050405020304" pitchFamily="18" charset="0"/>
                <a:ea typeface="Calibri" panose="020F0502020204030204" pitchFamily="34" charset="0"/>
                <a:cs typeface="Times New Roman" panose="02020603050405020304" pitchFamily="18" charset="0"/>
              </a:rPr>
              <a:t>Insights:</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AE" sz="1600" dirty="0">
              <a:latin typeface="Times New Roman" panose="02020603050405020304" pitchFamily="18"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Profit dialysis centres tend to have higher mortality rates than non-profit centres</a:t>
            </a:r>
            <a:r>
              <a:rPr lang="en-AE" sz="1600" dirty="0">
                <a:latin typeface="Times New Roman" panose="02020603050405020304" pitchFamily="18" charset="0"/>
                <a:ea typeface="Calibri" panose="020F0502020204030204" pitchFamily="34" charset="0"/>
                <a:cs typeface="Times New Roman" panose="02020603050405020304" pitchFamily="18" charset="0"/>
              </a:rPr>
              <a:t>.</a:t>
            </a: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 </a:t>
            </a:r>
            <a:r>
              <a:rPr lang="en-AE" sz="1600" dirty="0">
                <a:effectLst/>
                <a:latin typeface="Times New Roman" panose="02020603050405020304" pitchFamily="18" charset="0"/>
                <a:ea typeface="Times New Roman" panose="02020603050405020304" pitchFamily="18" charset="0"/>
                <a:cs typeface="Times New Roman" panose="02020603050405020304" pitchFamily="18" charset="0"/>
              </a:rPr>
              <a:t>This may be due to differences in staffing levels, quality of care, or other factors. </a:t>
            </a:r>
          </a:p>
          <a:p>
            <a:pPr>
              <a:lnSpc>
                <a:spcPct val="107000"/>
              </a:lnSpc>
              <a:spcAft>
                <a:spcPts val="800"/>
              </a:spcAft>
            </a:pPr>
            <a:r>
              <a:rPr lang="en-AE" sz="1600" b="1" dirty="0">
                <a:effectLst/>
                <a:latin typeface="Times New Roman" panose="02020603050405020304" pitchFamily="18" charset="0"/>
                <a:ea typeface="Times New Roman" panose="02020603050405020304" pitchFamily="18" charset="0"/>
                <a:cs typeface="Times New Roman" panose="02020603050405020304" pitchFamily="18" charset="0"/>
              </a:rPr>
              <a:t>Challenges and Opportunities: </a:t>
            </a:r>
            <a:endParaRPr lang="en-AE" sz="1600" b="1" dirty="0">
              <a:latin typeface="Times New Roman" panose="02020603050405020304" pitchFamily="18"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How to improve the quality of care provided by for-profit centres, which tend to have worse outcomes than non-profit centres. </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How to address the financial incentives that may drive for-profit centres to prioritize profits over patient care.</a:t>
            </a:r>
            <a:endParaRPr lang="en-AE" sz="1600" b="1" dirty="0">
              <a:effectLst/>
              <a:latin typeface="Times New Roman" panose="02020603050405020304" pitchFamily="18" charset="0"/>
              <a:ea typeface="Calibri" panose="020F0502020204030204" pitchFamily="34" charset="0"/>
              <a:cs typeface="Times New Roman" panose="02020603050405020304" pitchFamily="18" charset="0"/>
            </a:endParaRPr>
          </a:p>
          <a:p>
            <a:pPr>
              <a:lnSpc>
                <a:spcPct val="107000"/>
              </a:lnSpc>
              <a:spcAft>
                <a:spcPts val="800"/>
              </a:spcAft>
            </a:pPr>
            <a:r>
              <a:rPr lang="en-AE" sz="1600" b="1" dirty="0">
                <a:latin typeface="Times New Roman" panose="02020603050405020304" pitchFamily="18" charset="0"/>
                <a:ea typeface="Calibri" panose="020F0502020204030204" pitchFamily="34" charset="0"/>
                <a:cs typeface="Times New Roman" panose="02020603050405020304" pitchFamily="18" charset="0"/>
              </a:rPr>
              <a:t>S</a:t>
            </a:r>
            <a:r>
              <a:rPr lang="en-AE" sz="1600" b="1" dirty="0">
                <a:effectLst/>
                <a:latin typeface="Times New Roman" panose="02020603050405020304" pitchFamily="18" charset="0"/>
                <a:ea typeface="Calibri" panose="020F0502020204030204" pitchFamily="34" charset="0"/>
                <a:cs typeface="Times New Roman" panose="02020603050405020304" pitchFamily="18" charset="0"/>
              </a:rPr>
              <a:t>olution: </a:t>
            </a: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Incre</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ase staffing levels and provide more training for healthcare providers. </a:t>
            </a: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I</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mplement quality improvement programs that focus on patient outcomes rather than profits.</a:t>
            </a:r>
            <a:endParaRPr lang="en-AE" sz="1600" b="1"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ct val="107000"/>
              </a:lnSpc>
              <a:spcAft>
                <a:spcPts val="800"/>
              </a:spcAft>
            </a:pPr>
            <a:endParaRPr lang="en-AE" sz="1800" dirty="0">
              <a:effectLst/>
              <a:latin typeface="Times New Roman" panose="02020603050405020304" pitchFamily="18" charset="0"/>
              <a:ea typeface="Times New Roman" panose="02020603050405020304" pitchFamily="18" charset="0"/>
            </a:endParaRPr>
          </a:p>
          <a:p>
            <a:pPr>
              <a:lnSpc>
                <a:spcPct val="107000"/>
              </a:lnSpc>
              <a:spcAft>
                <a:spcPts val="800"/>
              </a:spcAft>
            </a:pPr>
            <a:r>
              <a:rPr lang="en-AE" sz="1800" dirty="0">
                <a:effectLst/>
                <a:latin typeface="Calibri" panose="020F0502020204030204" pitchFamily="34" charset="0"/>
                <a:ea typeface="Calibri" panose="020F0502020204030204" pitchFamily="34" charset="0"/>
                <a:cs typeface="Kalinga" panose="020B0502040204020203" pitchFamily="34" charset="0"/>
              </a:rPr>
              <a:t/>
            </a:r>
            <a:br>
              <a:rPr lang="en-AE" sz="1800" dirty="0">
                <a:effectLst/>
                <a:latin typeface="Calibri" panose="020F0502020204030204" pitchFamily="34" charset="0"/>
                <a:ea typeface="Calibri" panose="020F0502020204030204" pitchFamily="34" charset="0"/>
                <a:cs typeface="Kalinga" panose="020B0502040204020203" pitchFamily="34" charset="0"/>
              </a:rPr>
            </a:br>
            <a:endParaRPr lang="en-AE" sz="1800" kern="100" dirty="0">
              <a:effectLst/>
              <a:latin typeface="Calibri" panose="020F0502020204030204" pitchFamily="34" charset="0"/>
              <a:ea typeface="Calibri" panose="020F0502020204030204" pitchFamily="34" charset="0"/>
              <a:cs typeface="Kalinga" panose="020B05020402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Chart 3">
            <a:extLst>
              <a:ext uri="{FF2B5EF4-FFF2-40B4-BE49-F238E27FC236}">
                <a16:creationId xmlns="" xmlns:a16="http://schemas.microsoft.com/office/drawing/2014/main" id="{00000000-0008-0000-0800-00000D000000}"/>
              </a:ext>
            </a:extLst>
          </p:cNvPr>
          <p:cNvGraphicFramePr>
            <a:graphicFrameLocks/>
          </p:cNvGraphicFramePr>
          <p:nvPr>
            <p:extLst>
              <p:ext uri="{D42A27DB-BD31-4B8C-83A1-F6EECF244321}">
                <p14:modId xmlns:p14="http://schemas.microsoft.com/office/powerpoint/2010/main" val="2662924401"/>
              </p:ext>
            </p:extLst>
          </p:nvPr>
        </p:nvGraphicFramePr>
        <p:xfrm>
          <a:off x="8031823" y="35064"/>
          <a:ext cx="3943793" cy="32900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 xmlns:a16="http://schemas.microsoft.com/office/drawing/2014/main" id="{18118E0D-54B3-3892-5CC0-274B25AC8D3F}"/>
              </a:ext>
            </a:extLst>
          </p:cNvPr>
          <p:cNvGraphicFramePr>
            <a:graphicFrameLocks/>
          </p:cNvGraphicFramePr>
          <p:nvPr>
            <p:extLst>
              <p:ext uri="{D42A27DB-BD31-4B8C-83A1-F6EECF244321}">
                <p14:modId xmlns:p14="http://schemas.microsoft.com/office/powerpoint/2010/main" val="1569663267"/>
              </p:ext>
            </p:extLst>
          </p:nvPr>
        </p:nvGraphicFramePr>
        <p:xfrm>
          <a:off x="8093226" y="3786998"/>
          <a:ext cx="3882390" cy="26212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95100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405083" y="0"/>
            <a:ext cx="7099946" cy="523221"/>
          </a:xfrm>
          <a:prstGeom prst="rect">
            <a:avLst/>
          </a:prstGeom>
          <a:noFill/>
        </p:spPr>
        <p:txBody>
          <a:bodyPr wrap="square" rtlCol="0">
            <a:spAutoFit/>
          </a:bodyPr>
          <a:lstStyle/>
          <a:p>
            <a:pPr algn="ctr"/>
            <a:r>
              <a:rPr lang="en-US" sz="2800" b="1" spc="-150" dirty="0">
                <a:solidFill>
                  <a:srgbClr val="1CADE4"/>
                </a:solidFill>
                <a:latin typeface="Segoe UI" panose="020B0502040204020203" pitchFamily="34" charset="0"/>
                <a:ea typeface="Source Sans Pro" panose="020B0503030403020204" pitchFamily="34" charset="0"/>
                <a:cs typeface="Segoe UI" panose="020B0502040204020203" pitchFamily="34" charset="0"/>
              </a:rPr>
              <a:t>KPI - </a:t>
            </a:r>
            <a:r>
              <a:rPr lang="en-US" sz="2800" b="1" spc="-150" dirty="0" smtClean="0">
                <a:solidFill>
                  <a:srgbClr val="1CADE4"/>
                </a:solidFill>
                <a:latin typeface="Segoe UI" panose="020B0502040204020203" pitchFamily="34" charset="0"/>
                <a:ea typeface="Source Sans Pro" panose="020B0503030403020204" pitchFamily="34" charset="0"/>
                <a:cs typeface="Segoe UI" panose="020B0502040204020203" pitchFamily="34" charset="0"/>
              </a:rPr>
              <a:t>3</a:t>
            </a:r>
            <a:endParaRPr lang="en-US" sz="2800" b="1" spc="-150" dirty="0">
              <a:solidFill>
                <a:prstClr val="black">
                  <a:lumMod val="75000"/>
                  <a:lumOff val="25000"/>
                </a:prst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345948" y="497052"/>
            <a:ext cx="7099946" cy="6175042"/>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lvl="0" algn="ctr">
              <a:defRPr/>
            </a:pPr>
            <a:endParaRPr lang="en-US" kern="0" dirty="0" smtClean="0"/>
          </a:p>
          <a:p>
            <a:pPr lvl="0" algn="ctr">
              <a:defRPr/>
            </a:pPr>
            <a:endParaRPr lang="en-US" kern="0" dirty="0"/>
          </a:p>
          <a:p>
            <a:pPr lvl="0">
              <a:defRPr/>
            </a:pPr>
            <a:r>
              <a:rPr lang="en-US" kern="0" dirty="0" smtClean="0"/>
              <a:t>The </a:t>
            </a:r>
            <a:r>
              <a:rPr lang="en-US" kern="0" dirty="0"/>
              <a:t>number of dialysis stations available in a chain organization can have a significant impact on patient care and outcomes</a:t>
            </a:r>
            <a:r>
              <a:rPr lang="en-US" kern="0" dirty="0" smtClean="0"/>
              <a:t>.</a:t>
            </a:r>
          </a:p>
          <a:p>
            <a:pPr lvl="0">
              <a:defRPr/>
            </a:pPr>
            <a:endParaRPr kumimoji="0" lang="en-US" sz="1800" b="0" i="0" u="none" strike="noStrike" kern="0" cap="none" spc="0" normalizeH="0" baseline="0" noProof="0" dirty="0">
              <a:ln>
                <a:noFill/>
              </a:ln>
              <a:effectLst/>
              <a:uLnTx/>
              <a:uFillTx/>
              <a:latin typeface="Calibri" panose="020F0502020204030204"/>
              <a:ea typeface="+mn-ea"/>
              <a:cs typeface="+mn-cs"/>
            </a:endParaRPr>
          </a:p>
          <a:p>
            <a:pPr lvl="0">
              <a:defRPr/>
            </a:pPr>
            <a:r>
              <a:rPr lang="en-US" kern="0" dirty="0"/>
              <a:t>The top 3 chain organizations in terms of the number of dialysis stations are Fresenius Medical Care, DaVita Inc., and U.S. Renal Care</a:t>
            </a:r>
            <a:r>
              <a:rPr lang="en-US" kern="0" dirty="0" smtClean="0"/>
              <a:t>.</a:t>
            </a:r>
          </a:p>
          <a:p>
            <a:pPr lvl="0">
              <a:defRPr/>
            </a:pPr>
            <a:endParaRPr lang="en-US" kern="0" dirty="0" smtClean="0"/>
          </a:p>
          <a:p>
            <a:pPr lvl="0">
              <a:defRPr/>
            </a:pPr>
            <a:r>
              <a:rPr lang="en-US" kern="0" dirty="0" smtClean="0"/>
              <a:t>DaVita </a:t>
            </a:r>
            <a:r>
              <a:rPr lang="en-US" kern="0" dirty="0"/>
              <a:t>Medical Care has the largest number of dialysis stations, with over </a:t>
            </a:r>
            <a:r>
              <a:rPr lang="en-US" kern="0" dirty="0" smtClean="0"/>
              <a:t>50000 locations </a:t>
            </a:r>
            <a:r>
              <a:rPr lang="en-US" kern="0" dirty="0"/>
              <a:t>worldwide. </a:t>
            </a:r>
            <a:r>
              <a:rPr lang="en-US" kern="0" dirty="0" smtClean="0"/>
              <a:t>Fresenius Medical Care </a:t>
            </a:r>
            <a:r>
              <a:rPr lang="en-US" kern="0" dirty="0"/>
              <a:t>comes in second, with </a:t>
            </a:r>
            <a:r>
              <a:rPr lang="en-US" kern="0" dirty="0" smtClean="0"/>
              <a:t>approximately 49135, </a:t>
            </a:r>
            <a:r>
              <a:rPr lang="en-US" kern="0" dirty="0"/>
              <a:t>while U.S. Renal Care has just </a:t>
            </a:r>
            <a:r>
              <a:rPr lang="en-US" kern="0" dirty="0" smtClean="0"/>
              <a:t>over 11000 station.</a:t>
            </a:r>
          </a:p>
          <a:p>
            <a:pPr lvl="0">
              <a:defRPr/>
            </a:pPr>
            <a:endParaRPr lang="en-US" kern="0" dirty="0"/>
          </a:p>
          <a:p>
            <a:pPr lvl="0">
              <a:defRPr/>
            </a:pPr>
            <a:r>
              <a:rPr lang="en-US" kern="0" dirty="0" smtClean="0"/>
              <a:t>	</a:t>
            </a:r>
          </a:p>
          <a:p>
            <a:pPr lvl="0">
              <a:defRPr/>
            </a:pPr>
            <a:endParaRPr kumimoji="0" lang="en-US" sz="1800" b="0" i="0" u="none" strike="noStrike" kern="0" cap="none" spc="0" normalizeH="0" baseline="0" noProof="0" dirty="0">
              <a:ln>
                <a:noFill/>
              </a:ln>
              <a:effectLst/>
              <a:uLnTx/>
              <a:uFillTx/>
              <a:latin typeface="Calibri" panose="020F0502020204030204"/>
              <a:ea typeface="+mn-ea"/>
              <a:cs typeface="+mn-cs"/>
            </a:endParaRPr>
          </a:p>
          <a:p>
            <a:pPr lvl="0">
              <a:defRPr/>
            </a:pPr>
            <a:endParaRPr kumimoji="0" lang="en-IN" sz="1800" b="0" i="0" u="none" strike="noStrike" kern="0" cap="none" spc="0" normalizeH="0" baseline="0" noProof="0" dirty="0">
              <a:ln>
                <a:noFill/>
              </a:ln>
              <a:effectLst/>
              <a:uLnTx/>
              <a:uFillTx/>
              <a:latin typeface="Calibri" panose="020F0502020204030204"/>
              <a:ea typeface="+mn-ea"/>
              <a:cs typeface="+mn-cs"/>
            </a:endParaRPr>
          </a:p>
        </p:txBody>
      </p:sp>
      <p:graphicFrame>
        <p:nvGraphicFramePr>
          <p:cNvPr id="7" name="Chart 6">
            <a:extLst>
              <a:ext uri="{FF2B5EF4-FFF2-40B4-BE49-F238E27FC236}">
                <a16:creationId xmlns:lc="http://schemas.openxmlformats.org/drawingml/2006/lockedCanvas" xmlns:a16="http://schemas.microsoft.com/office/drawing/2014/main" xmlns="" xmlns:xdr="http://schemas.openxmlformats.org/drawingml/2006/spreadsheetDrawing" id="{018E8B58-F960-42D6-8425-2C5203B043C2}"/>
              </a:ext>
            </a:extLst>
          </p:cNvPr>
          <p:cNvGraphicFramePr>
            <a:graphicFrameLocks/>
          </p:cNvGraphicFramePr>
          <p:nvPr>
            <p:extLst>
              <p:ext uri="{D42A27DB-BD31-4B8C-83A1-F6EECF244321}">
                <p14:modId xmlns:p14="http://schemas.microsoft.com/office/powerpoint/2010/main" val="498573417"/>
              </p:ext>
            </p:extLst>
          </p:nvPr>
        </p:nvGraphicFramePr>
        <p:xfrm>
          <a:off x="7856215" y="1176950"/>
          <a:ext cx="4030160" cy="38608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194593941"/>
              </p:ext>
            </p:extLst>
          </p:nvPr>
        </p:nvGraphicFramePr>
        <p:xfrm>
          <a:off x="633805" y="4200470"/>
          <a:ext cx="4889500" cy="736600"/>
        </p:xfrm>
        <a:graphic>
          <a:graphicData uri="http://schemas.openxmlformats.org/drawingml/2006/table">
            <a:tbl>
              <a:tblPr/>
              <a:tblGrid>
                <a:gridCol w="1600200"/>
                <a:gridCol w="1358900"/>
                <a:gridCol w="1930400"/>
              </a:tblGrid>
              <a:tr h="184150">
                <a:tc>
                  <a:txBody>
                    <a:bodyPr/>
                    <a:lstStyle/>
                    <a:p>
                      <a:pPr algn="l" fontAlgn="b"/>
                      <a:r>
                        <a:rPr lang="en-US" sz="1100" b="0" i="0" u="none" strike="noStrike">
                          <a:solidFill>
                            <a:srgbClr val="000000"/>
                          </a:solidFill>
                          <a:effectLst/>
                          <a:latin typeface="Calibri" panose="020F0502020204030204" pitchFamily="34" charset="0"/>
                        </a:rPr>
                        <a:t>Chain Organiz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100" b="0" i="0" u="none" strike="noStrike">
                          <a:solidFill>
                            <a:srgbClr val="000000"/>
                          </a:solidFill>
                          <a:effectLst/>
                          <a:latin typeface="Calibri" panose="020F0502020204030204" pitchFamily="34" charset="0"/>
                        </a:rPr>
                        <a:t>Total  Dialysis Station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1100" b="0" i="0" u="none" strike="noStrike">
                          <a:solidFill>
                            <a:srgbClr val="000000"/>
                          </a:solidFill>
                          <a:effectLst/>
                          <a:latin typeface="Calibri" panose="020F0502020204030204" pitchFamily="34" charset="0"/>
                        </a:rPr>
                        <a:t>Total Dialysis With 5 as Five st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r>
              <a:tr h="184150">
                <a:tc>
                  <a:txBody>
                    <a:bodyPr/>
                    <a:lstStyle/>
                    <a:p>
                      <a:pPr algn="l" fontAlgn="b"/>
                      <a:r>
                        <a:rPr lang="en-US" sz="1100" b="0" i="0" u="none" strike="noStrike">
                          <a:solidFill>
                            <a:srgbClr val="000000"/>
                          </a:solidFill>
                          <a:effectLst/>
                          <a:latin typeface="Calibri" panose="020F0502020204030204" pitchFamily="34" charset="0"/>
                        </a:rPr>
                        <a:t>DAVIT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5010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465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150">
                <a:tc>
                  <a:txBody>
                    <a:bodyPr/>
                    <a:lstStyle/>
                    <a:p>
                      <a:pPr algn="l" fontAlgn="b"/>
                      <a:r>
                        <a:rPr lang="en-US" sz="1100" b="0" i="0" u="none" strike="noStrike">
                          <a:solidFill>
                            <a:srgbClr val="000000"/>
                          </a:solidFill>
                          <a:effectLst/>
                          <a:latin typeface="Calibri" panose="020F0502020204030204" pitchFamily="34" charset="0"/>
                        </a:rPr>
                        <a:t>FRESENIUS MEDICAL CA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4913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29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150">
                <a:tc>
                  <a:txBody>
                    <a:bodyPr/>
                    <a:lstStyle/>
                    <a:p>
                      <a:pPr algn="l" fontAlgn="b"/>
                      <a:r>
                        <a:rPr lang="en-US" sz="1100" b="0" i="0" u="none" strike="noStrike">
                          <a:solidFill>
                            <a:srgbClr val="000000"/>
                          </a:solidFill>
                          <a:effectLst/>
                          <a:latin typeface="Calibri" panose="020F0502020204030204" pitchFamily="34" charset="0"/>
                        </a:rPr>
                        <a:t>INDEPEND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alibri" panose="020F0502020204030204" pitchFamily="34" charset="0"/>
                        </a:rPr>
                        <a:t>1173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214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71539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345948" y="168358"/>
            <a:ext cx="7099946" cy="523220"/>
          </a:xfrm>
          <a:prstGeom prst="rect">
            <a:avLst/>
          </a:prstGeom>
          <a:noFill/>
        </p:spPr>
        <p:txBody>
          <a:bodyPr wrap="square" rtlCol="0">
            <a:spAutoFit/>
          </a:bodyPr>
          <a:lstStyle/>
          <a:p>
            <a:pPr algn="ctr"/>
            <a:r>
              <a:rPr lang="en-IN" sz="2800" b="1" spc="-150" dirty="0">
                <a:solidFill>
                  <a:srgbClr val="1CADE4"/>
                </a:solidFill>
                <a:latin typeface="Segoe UI" panose="020B0502040204020203" pitchFamily="34" charset="0"/>
                <a:cs typeface="Segoe UI" panose="020B0502040204020203" pitchFamily="34" charset="0"/>
              </a:rPr>
              <a:t>KPI - 4</a:t>
            </a:r>
            <a:endParaRPr lang="en-US" sz="2800" b="1" spc="-150" dirty="0">
              <a:solidFill>
                <a:srgbClr val="1CADE4"/>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345948" y="691578"/>
            <a:ext cx="7099946" cy="5914495"/>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a:defRPr/>
            </a:pPr>
            <a:r>
              <a:rPr lang="en-AE" sz="1600" dirty="0">
                <a:effectLst/>
                <a:latin typeface="Times New Roman" panose="02020603050405020304" pitchFamily="18" charset="0"/>
                <a:ea typeface="Times New Roman" panose="02020603050405020304" pitchFamily="18" charset="0"/>
                <a:cs typeface="Times New Roman" panose="02020603050405020304" pitchFamily="18" charset="0"/>
              </a:rPr>
              <a:t>The statistics related to dialysis stations are both informative and sobering. In the United States alone, there are over 7,000 dialysis facilities serving more than 500,000 patients with kidney disease. The success rates of treatment vary depending on a number of factors, including the patient's age, overall health, and the underlying cause of their kidney disease.</a:t>
            </a:r>
          </a:p>
          <a:p>
            <a:pPr>
              <a:defRPr/>
            </a:pPr>
            <a:endParaRPr lang="en-AE" sz="1600" dirty="0">
              <a:latin typeface="Times New Roman" panose="02020603050405020304" pitchFamily="18" charset="0"/>
              <a:ea typeface="Times New Roman" panose="02020603050405020304" pitchFamily="18" charset="0"/>
              <a:cs typeface="Times New Roman" panose="02020603050405020304" pitchFamily="18" charset="0"/>
            </a:endParaRPr>
          </a:p>
          <a:p>
            <a:pPr>
              <a:defRPr/>
            </a:pPr>
            <a:endParaRPr lang="en-AE"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Insights:</a:t>
            </a:r>
          </a:p>
          <a:p>
            <a:pPr>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By identifying these patterns and disparities, healthcare professionals and policymakers can work to address the root causes of these issues and implement targeted interventions to improve patient outcomes and increase access to care for all.</a:t>
            </a:r>
            <a:endParaRPr lang="en-AE" sz="16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graphicFrame>
        <p:nvGraphicFramePr>
          <p:cNvPr id="2" name="Chart 1">
            <a:extLst>
              <a:ext uri="{FF2B5EF4-FFF2-40B4-BE49-F238E27FC236}">
                <a16:creationId xmlns="" xmlns:a16="http://schemas.microsoft.com/office/drawing/2014/main" id="{00000000-0008-0000-0800-000012000000}"/>
              </a:ext>
            </a:extLst>
          </p:cNvPr>
          <p:cNvGraphicFramePr>
            <a:graphicFrameLocks/>
          </p:cNvGraphicFramePr>
          <p:nvPr>
            <p:extLst>
              <p:ext uri="{D42A27DB-BD31-4B8C-83A1-F6EECF244321}">
                <p14:modId xmlns:p14="http://schemas.microsoft.com/office/powerpoint/2010/main" val="266818506"/>
              </p:ext>
            </p:extLst>
          </p:nvPr>
        </p:nvGraphicFramePr>
        <p:xfrm>
          <a:off x="7966592" y="1015675"/>
          <a:ext cx="4371725" cy="53166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8402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345948" y="-9683"/>
            <a:ext cx="7099946" cy="523220"/>
          </a:xfrm>
          <a:prstGeom prst="rect">
            <a:avLst/>
          </a:prstGeom>
          <a:noFill/>
        </p:spPr>
        <p:txBody>
          <a:bodyPr wrap="square" rtlCol="0">
            <a:spAutoFit/>
          </a:bodyPr>
          <a:lstStyle/>
          <a:p>
            <a:pPr algn="ctr"/>
            <a:r>
              <a:rPr lang="en-IN" sz="2800" b="1" spc="-150" dirty="0">
                <a:solidFill>
                  <a:srgbClr val="1CADE4"/>
                </a:solidFill>
                <a:latin typeface="Segoe UI" panose="020B0502040204020203" pitchFamily="34" charset="0"/>
                <a:cs typeface="Segoe UI" panose="020B0502040204020203" pitchFamily="34" charset="0"/>
              </a:rPr>
              <a:t>KPI - 5</a:t>
            </a:r>
            <a:endParaRPr lang="en-US" sz="2800" b="1" spc="-150" dirty="0">
              <a:solidFill>
                <a:srgbClr val="1CADE4"/>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345948" y="513538"/>
            <a:ext cx="7099946" cy="6092536"/>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a:defRPr/>
            </a:pPr>
            <a:r>
              <a:rPr lang="en-AE" b="1" dirty="0">
                <a:latin typeface="Times New Roman" panose="02020603050405020304" pitchFamily="18" charset="0"/>
                <a:ea typeface="Times New Roman" panose="02020603050405020304" pitchFamily="18" charset="0"/>
              </a:rPr>
              <a:t>The Importance of Categories:</a:t>
            </a:r>
            <a:endParaRPr lang="en-US" b="1" dirty="0">
              <a:latin typeface="Times New Roman" panose="02020603050405020304" pitchFamily="18" charset="0"/>
              <a:ea typeface="Times New Roman" panose="02020603050405020304" pitchFamily="18" charset="0"/>
            </a:endParaRPr>
          </a:p>
          <a:p>
            <a:pPr>
              <a:defRPr/>
            </a:pPr>
            <a:endParaRPr lang="en-US" b="1" dirty="0">
              <a:latin typeface="Times New Roman" panose="02020603050405020304" pitchFamily="18" charset="0"/>
              <a:ea typeface="Times New Roman" panose="02020603050405020304" pitchFamily="18" charset="0"/>
            </a:endParaRPr>
          </a:p>
          <a:p>
            <a:pPr marL="285750" indent="-285750">
              <a:buFont typeface="Wingdings" panose="05000000000000000000" pitchFamily="2" charset="2"/>
              <a:buChar char="Ø"/>
              <a:defRPr/>
            </a:pPr>
            <a:r>
              <a:rPr lang="en-US" dirty="0">
                <a:latin typeface="Open Sans" panose="020B0606030504020204" pitchFamily="34" charset="0"/>
                <a:ea typeface="Open Sans" panose="020B0606030504020204" pitchFamily="34" charset="0"/>
                <a:cs typeface="Open Sans" panose="020B0606030504020204" pitchFamily="34" charset="0"/>
              </a:rPr>
              <a:t>Patient Hospitalization is Showing the Highest As Expected Count with 1984</a:t>
            </a:r>
          </a:p>
          <a:p>
            <a:pPr>
              <a:defRPr/>
            </a:pPr>
            <a:endParaRPr lang="en-US" dirty="0">
              <a:latin typeface="Open Sans" panose="020B0606030504020204" pitchFamily="34" charset="0"/>
              <a:ea typeface="Open Sans" panose="020B0606030504020204" pitchFamily="34" charset="0"/>
              <a:cs typeface="Open Sans" panose="020B0606030504020204" pitchFamily="34" charset="0"/>
            </a:endParaRPr>
          </a:p>
          <a:p>
            <a:pPr>
              <a:defRPr/>
            </a:pPr>
            <a:endParaRPr lang="en-US"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defRPr/>
            </a:pPr>
            <a:r>
              <a:rPr lang="en-US" dirty="0">
                <a:latin typeface="Open Sans" panose="020B0606030504020204" pitchFamily="34" charset="0"/>
                <a:ea typeface="Open Sans" panose="020B0606030504020204" pitchFamily="34" charset="0"/>
                <a:cs typeface="Open Sans" panose="020B0606030504020204" pitchFamily="34" charset="0"/>
              </a:rPr>
              <a:t>SWR  is Showing the Lowest As Expected Count  with 865.</a:t>
            </a:r>
          </a:p>
          <a:p>
            <a:pPr>
              <a:defRPr/>
            </a:pPr>
            <a:endParaRPr lang="en-US" dirty="0">
              <a:latin typeface="Open Sans" panose="020B0606030504020204" pitchFamily="34" charset="0"/>
              <a:ea typeface="Open Sans" panose="020B0606030504020204" pitchFamily="34" charset="0"/>
              <a:cs typeface="Open Sans" panose="020B0606030504020204" pitchFamily="34" charset="0"/>
            </a:endParaRPr>
          </a:p>
          <a:p>
            <a:pPr>
              <a:defRPr/>
            </a:pPr>
            <a:endParaRPr lang="en-US" dirty="0">
              <a:latin typeface="Open Sans" panose="020B0606030504020204" pitchFamily="34" charset="0"/>
              <a:ea typeface="Open Sans" panose="020B0606030504020204" pitchFamily="34" charset="0"/>
              <a:cs typeface="Open Sans" panose="020B0606030504020204" pitchFamily="34" charset="0"/>
            </a:endParaRPr>
          </a:p>
          <a:p>
            <a:pPr>
              <a:defRPr/>
            </a:pPr>
            <a:r>
              <a:rPr lang="en-US" dirty="0">
                <a:latin typeface="Times New Roman" panose="02020603050405020304" pitchFamily="18" charset="0"/>
                <a:ea typeface="Open Sans" panose="020B0606030504020204" pitchFamily="34" charset="0"/>
                <a:cs typeface="Times New Roman" panose="02020603050405020304" pitchFamily="18" charset="0"/>
              </a:rPr>
              <a:t>Analyzing the number of categories in the dialysis dataset can provide valuable insights into patient outcomes and treatment effectiveness</a:t>
            </a:r>
          </a:p>
          <a:p>
            <a:pPr>
              <a:defRPr/>
            </a:pPr>
            <a:endParaRPr lang="en-US" dirty="0">
              <a:latin typeface="Times New Roman" panose="02020603050405020304" pitchFamily="18" charset="0"/>
              <a:ea typeface="Open Sans" panose="020B0606030504020204" pitchFamily="34" charset="0"/>
              <a:cs typeface="Times New Roman" panose="02020603050405020304" pitchFamily="18" charset="0"/>
            </a:endParaRPr>
          </a:p>
          <a:p>
            <a:pPr>
              <a:defRPr/>
            </a:pPr>
            <a:endParaRPr lang="en-US" dirty="0">
              <a:latin typeface="Open Sans" panose="020B0606030504020204" pitchFamily="34" charset="0"/>
              <a:ea typeface="Open Sans" panose="020B0606030504020204" pitchFamily="34" charset="0"/>
              <a:cs typeface="Open Sans" panose="020B0606030504020204" pitchFamily="34" charset="0"/>
            </a:endParaRPr>
          </a:p>
          <a:p>
            <a:pPr>
              <a:defRPr/>
            </a:pPr>
            <a:endParaRPr lang="en-US" dirty="0">
              <a:latin typeface="Open Sans" panose="020B0606030504020204" pitchFamily="34" charset="0"/>
              <a:ea typeface="Open Sans" panose="020B0606030504020204" pitchFamily="34" charset="0"/>
              <a:cs typeface="Open Sans" panose="020B0606030504020204" pitchFamily="34" charset="0"/>
            </a:endParaRPr>
          </a:p>
          <a:p>
            <a:pPr>
              <a:defRPr/>
            </a:pPr>
            <a:r>
              <a:rPr lang="en-US" dirty="0">
                <a:latin typeface="Times New Roman" panose="02020603050405020304" pitchFamily="18" charset="0"/>
                <a:ea typeface="Open Sans" panose="020B0606030504020204" pitchFamily="34" charset="0"/>
                <a:cs typeface="Times New Roman" panose="02020603050405020304" pitchFamily="18" charset="0"/>
              </a:rPr>
              <a:t>Furthermore, having a clear understanding of the categories present in the dataset can help identify gaps in the data and inform future research priorities. By knowing what categories are missing or underrepresented in the data, researchers can focus on collecting more complete and representative data to improve the accuracy and usefulness of dialysis research.</a:t>
            </a:r>
          </a:p>
          <a:p>
            <a:pPr>
              <a:defRPr/>
            </a:pPr>
            <a:endParaRPr lang="en-US" dirty="0">
              <a:latin typeface="Times New Roman" panose="02020603050405020304" pitchFamily="18" charset="0"/>
              <a:ea typeface="Open Sans" panose="020B0606030504020204" pitchFamily="34" charset="0"/>
              <a:cs typeface="Times New Roman" panose="02020603050405020304" pitchFamily="18" charset="0"/>
            </a:endParaRPr>
          </a:p>
          <a:p>
            <a:pPr>
              <a:defRPr/>
            </a:pPr>
            <a:r>
              <a:rPr lang="en-AE" b="1" dirty="0">
                <a:latin typeface="Times New Roman" panose="02020603050405020304" pitchFamily="18" charset="0"/>
                <a:ea typeface="Times New Roman" panose="02020603050405020304" pitchFamily="18" charset="0"/>
              </a:rPr>
              <a:t> </a:t>
            </a:r>
            <a:endParaRPr lang="en-AE" dirty="0">
              <a:latin typeface="Times New Roman" panose="02020603050405020304" pitchFamily="18" charset="0"/>
              <a:ea typeface="Times New Roman" panose="02020603050405020304" pitchFamily="18" charset="0"/>
            </a:endParaRPr>
          </a:p>
          <a:p>
            <a:pPr>
              <a:defRPr/>
            </a:pPr>
            <a:endParaRPr lang="en-AE" sz="1600" dirty="0">
              <a:latin typeface="Times New Roman" panose="02020603050405020304" pitchFamily="18" charset="0"/>
              <a:ea typeface="Times New Roman" panose="02020603050405020304" pitchFamily="18" charset="0"/>
              <a:cs typeface="Times New Roman" panose="02020603050405020304" pitchFamily="18" charset="0"/>
            </a:endParaRPr>
          </a:p>
          <a:p>
            <a:pPr>
              <a:defRPr/>
            </a:pPr>
            <a:endParaRPr lang="en-AE" sz="16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graphicFrame>
        <p:nvGraphicFramePr>
          <p:cNvPr id="3" name="Chart 2">
            <a:extLst>
              <a:ext uri="{FF2B5EF4-FFF2-40B4-BE49-F238E27FC236}">
                <a16:creationId xmlns="" xmlns:a16="http://schemas.microsoft.com/office/drawing/2014/main" id="{00000000-0008-0000-0800-000010000000}"/>
              </a:ext>
            </a:extLst>
          </p:cNvPr>
          <p:cNvGraphicFramePr>
            <a:graphicFrameLocks/>
          </p:cNvGraphicFramePr>
          <p:nvPr>
            <p:extLst>
              <p:ext uri="{D42A27DB-BD31-4B8C-83A1-F6EECF244321}">
                <p14:modId xmlns:p14="http://schemas.microsoft.com/office/powerpoint/2010/main" val="111642858"/>
              </p:ext>
            </p:extLst>
          </p:nvPr>
        </p:nvGraphicFramePr>
        <p:xfrm>
          <a:off x="7747517" y="1203420"/>
          <a:ext cx="4414154" cy="42549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96043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215319" y="-93252"/>
            <a:ext cx="7099946" cy="523220"/>
          </a:xfrm>
          <a:prstGeom prst="rect">
            <a:avLst/>
          </a:prstGeom>
          <a:noFill/>
        </p:spPr>
        <p:txBody>
          <a:bodyPr wrap="square" rtlCol="0">
            <a:spAutoFit/>
          </a:bodyPr>
          <a:lstStyle/>
          <a:p>
            <a:pPr algn="ctr"/>
            <a:r>
              <a:rPr lang="en-IN" sz="2800" b="1" spc="-150" dirty="0">
                <a:solidFill>
                  <a:srgbClr val="1CADE4"/>
                </a:solidFill>
                <a:latin typeface="Segoe UI" panose="020B0502040204020203" pitchFamily="34" charset="0"/>
                <a:cs typeface="Segoe UI" panose="020B0502040204020203" pitchFamily="34" charset="0"/>
              </a:rPr>
              <a:t>KPI - 6</a:t>
            </a:r>
            <a:endParaRPr lang="en-US" sz="2800" b="1" spc="-150" dirty="0">
              <a:solidFill>
                <a:srgbClr val="1CADE4"/>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345948" y="429968"/>
            <a:ext cx="7099946" cy="6176106"/>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marL="285750" indent="-285750">
              <a:buFont typeface="Wingdings" panose="05000000000000000000" pitchFamily="2" charset="2"/>
              <a:buChar char="Ø"/>
            </a:pPr>
            <a:endParaRPr lang="en-US" sz="1600" dirty="0" smtClean="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pPr>
            <a:endParaRPr lang="en-US"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pPr>
            <a:endParaRPr lang="en-US" sz="1600" dirty="0" smtClean="0">
              <a:latin typeface="Open Sans" panose="020B0606030504020204" pitchFamily="34" charset="0"/>
              <a:ea typeface="Open Sans" panose="020B0606030504020204" pitchFamily="34" charset="0"/>
              <a:cs typeface="Open Sans" panose="020B0606030504020204" pitchFamily="34" charset="0"/>
            </a:endParaRPr>
          </a:p>
          <a:p>
            <a:endParaRPr lang="en-US"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pPr>
            <a:r>
              <a:rPr lang="en-US" sz="1600" dirty="0" smtClean="0">
                <a:latin typeface="Open Sans" panose="020B0606030504020204" pitchFamily="34" charset="0"/>
                <a:ea typeface="Open Sans" panose="020B0606030504020204" pitchFamily="34" charset="0"/>
                <a:cs typeface="Open Sans" panose="020B0606030504020204" pitchFamily="34" charset="0"/>
              </a:rPr>
              <a:t>The </a:t>
            </a:r>
            <a:r>
              <a:rPr lang="en-US" sz="1600" dirty="0">
                <a:latin typeface="Open Sans" panose="020B0606030504020204" pitchFamily="34" charset="0"/>
                <a:ea typeface="Open Sans" panose="020B0606030504020204" pitchFamily="34" charset="0"/>
                <a:cs typeface="Open Sans" panose="020B0606030504020204" pitchFamily="34" charset="0"/>
              </a:rPr>
              <a:t>Percentage of Improvement Across the total Score Applied is 3.05 %</a:t>
            </a:r>
          </a:p>
          <a:p>
            <a:r>
              <a:rPr lang="en-US" sz="1600" dirty="0">
                <a:latin typeface="Open Sans" panose="020B0606030504020204" pitchFamily="34" charset="0"/>
                <a:ea typeface="Open Sans" panose="020B0606030504020204" pitchFamily="34" charset="0"/>
                <a:cs typeface="Open Sans" panose="020B0606030504020204" pitchFamily="34" charset="0"/>
              </a:rPr>
              <a:t>     The Percentage of Achievement Across the total Score Applied is 64.24%       </a:t>
            </a:r>
          </a:p>
          <a:p>
            <a:endParaRPr lang="en-US" sz="1600" dirty="0">
              <a:latin typeface="Open Sans" panose="020B0606030504020204" pitchFamily="34" charset="0"/>
              <a:ea typeface="Open Sans" panose="020B0606030504020204" pitchFamily="34" charset="0"/>
              <a:cs typeface="Open Sans" panose="020B0606030504020204" pitchFamily="34" charset="0"/>
            </a:endParaRPr>
          </a:p>
          <a:p>
            <a:endParaRPr lang="en-US"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pPr>
            <a:r>
              <a:rPr lang="en-US" sz="1600" dirty="0">
                <a:latin typeface="Open Sans" panose="020B0606030504020204" pitchFamily="34" charset="0"/>
                <a:ea typeface="Open Sans" panose="020B0606030504020204" pitchFamily="34" charset="0"/>
                <a:cs typeface="Open Sans" panose="020B0606030504020204" pitchFamily="34" charset="0"/>
              </a:rPr>
              <a:t>Standardized Transfusion Ratio (</a:t>
            </a:r>
            <a:r>
              <a:rPr lang="en-US" sz="1600" dirty="0" err="1">
                <a:latin typeface="Open Sans" panose="020B0606030504020204" pitchFamily="34" charset="0"/>
                <a:ea typeface="Open Sans" panose="020B0606030504020204" pitchFamily="34" charset="0"/>
                <a:cs typeface="Open Sans" panose="020B0606030504020204" pitchFamily="34" charset="0"/>
              </a:rPr>
              <a:t>STrR</a:t>
            </a:r>
            <a:r>
              <a:rPr lang="en-US" sz="1600" dirty="0">
                <a:latin typeface="Open Sans" panose="020B0606030504020204" pitchFamily="34" charset="0"/>
                <a:ea typeface="Open Sans" panose="020B0606030504020204" pitchFamily="34" charset="0"/>
                <a:cs typeface="Open Sans" panose="020B0606030504020204" pitchFamily="34" charset="0"/>
              </a:rPr>
              <a:t>) is Showing the Highest Improvement rate with 467</a:t>
            </a:r>
          </a:p>
          <a:p>
            <a:endParaRPr lang="en-US"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pPr>
            <a:r>
              <a:rPr lang="en-US" sz="1600" dirty="0">
                <a:latin typeface="Open Sans" panose="020B0606030504020204" pitchFamily="34" charset="0"/>
                <a:ea typeface="Open Sans" panose="020B0606030504020204" pitchFamily="34" charset="0"/>
                <a:cs typeface="Open Sans" panose="020B0606030504020204" pitchFamily="34" charset="0"/>
              </a:rPr>
              <a:t> ICH CAHPS Care and ops is showing the lowest  improvement rate with 88</a:t>
            </a:r>
          </a:p>
          <a:p>
            <a:pPr marL="285750" indent="-285750">
              <a:buFont typeface="Wingdings" panose="05000000000000000000" pitchFamily="2" charset="2"/>
              <a:buChar char="Ø"/>
            </a:pPr>
            <a:endParaRPr lang="en-US"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Ø"/>
            </a:pPr>
            <a:endParaRPr lang="en-US" sz="1600" dirty="0">
              <a:latin typeface="Open Sans" panose="020B0606030504020204" pitchFamily="34" charset="0"/>
              <a:ea typeface="Open Sans" panose="020B0606030504020204" pitchFamily="34" charset="0"/>
              <a:cs typeface="Open Sans" panose="020B0606030504020204" pitchFamily="34" charset="0"/>
            </a:endParaRPr>
          </a:p>
          <a:p>
            <a:r>
              <a:rPr lang="en-US" sz="1600" dirty="0">
                <a:latin typeface="Times New Roman" panose="02020603050405020304" pitchFamily="18" charset="0"/>
                <a:ea typeface="Open Sans" panose="020B0606030504020204" pitchFamily="34" charset="0"/>
                <a:cs typeface="Times New Roman" panose="02020603050405020304" pitchFamily="18" charset="0"/>
              </a:rPr>
              <a:t>Through our research, we have found that applying more scores to the dialysis dataset can help identify areas for improvement in patient care, reduce costs, and ultimately save lives. We believe that this is an important topic that deserves attention and action.</a:t>
            </a:r>
          </a:p>
        </p:txBody>
      </p:sp>
      <p:graphicFrame>
        <p:nvGraphicFramePr>
          <p:cNvPr id="3" name="Chart 2">
            <a:extLst>
              <a:ext uri="{FF2B5EF4-FFF2-40B4-BE49-F238E27FC236}">
                <a16:creationId xmlns="" xmlns:a16="http://schemas.microsoft.com/office/drawing/2014/main" id="{00000000-0008-0000-0800-000009000000}"/>
              </a:ext>
            </a:extLst>
          </p:cNvPr>
          <p:cNvGraphicFramePr>
            <a:graphicFrameLocks/>
          </p:cNvGraphicFramePr>
          <p:nvPr>
            <p:extLst>
              <p:ext uri="{D42A27DB-BD31-4B8C-83A1-F6EECF244321}">
                <p14:modId xmlns:p14="http://schemas.microsoft.com/office/powerpoint/2010/main" val="3434224697"/>
              </p:ext>
            </p:extLst>
          </p:nvPr>
        </p:nvGraphicFramePr>
        <p:xfrm>
          <a:off x="7819053" y="1112"/>
          <a:ext cx="4372947" cy="66796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85656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174498" y="0"/>
            <a:ext cx="7099946" cy="523220"/>
          </a:xfrm>
          <a:prstGeom prst="rect">
            <a:avLst/>
          </a:prstGeom>
          <a:noFill/>
        </p:spPr>
        <p:txBody>
          <a:bodyPr wrap="square" rtlCol="0">
            <a:spAutoFit/>
          </a:bodyPr>
          <a:lstStyle/>
          <a:p>
            <a:pPr algn="ctr"/>
            <a:r>
              <a:rPr lang="en-IN" sz="2800" b="1" spc="-150" dirty="0">
                <a:solidFill>
                  <a:srgbClr val="1CADE4"/>
                </a:solidFill>
                <a:latin typeface="Segoe UI" panose="020B0502040204020203" pitchFamily="34" charset="0"/>
                <a:cs typeface="Segoe UI" panose="020B0502040204020203" pitchFamily="34" charset="0"/>
              </a:rPr>
              <a:t>KPI - 7</a:t>
            </a:r>
            <a:endParaRPr lang="en-US" sz="2800" b="1" spc="-150" dirty="0">
              <a:solidFill>
                <a:srgbClr val="1CADE4"/>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411035" y="500422"/>
            <a:ext cx="7099946" cy="6186128"/>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a:lnSpc>
                <a:spcPct val="107000"/>
              </a:lnSpc>
              <a:spcAft>
                <a:spcPts val="800"/>
              </a:spcAft>
            </a:pPr>
            <a:r>
              <a:rPr lang="en-AE" sz="1600" dirty="0">
                <a:latin typeface="Times New Roman" panose="02020603050405020304" pitchFamily="18" charset="0"/>
                <a:ea typeface="Calibri" panose="020F0502020204030204" pitchFamily="34" charset="0"/>
                <a:cs typeface="Times New Roman" panose="02020603050405020304" pitchFamily="18" charset="0"/>
              </a:rPr>
              <a:t>Total performance score is a measure of a dialysis facility's performance based on various quality measures like clinical outcomes, patient experience, and safety standards. </a:t>
            </a:r>
          </a:p>
          <a:p>
            <a:pPr>
              <a:lnSpc>
                <a:spcPct val="107000"/>
              </a:lnSpc>
              <a:spcAft>
                <a:spcPts val="800"/>
              </a:spcAft>
            </a:pPr>
            <a:r>
              <a:rPr lang="en-AE" sz="1600" dirty="0">
                <a:latin typeface="Times New Roman" panose="02020603050405020304" pitchFamily="18" charset="0"/>
                <a:ea typeface="Calibri" panose="020F0502020204030204" pitchFamily="34" charset="0"/>
                <a:cs typeface="Times New Roman" panose="02020603050405020304" pitchFamily="18" charset="0"/>
              </a:rPr>
              <a:t>The score is calculated using data from the Centres for Medicare &amp; Medicaid Services (CMS) and is reported on a scale of 0 to 100.</a:t>
            </a:r>
          </a:p>
          <a:p>
            <a:pPr>
              <a:lnSpc>
                <a:spcPct val="107000"/>
              </a:lnSpc>
              <a:spcAft>
                <a:spcPts val="800"/>
              </a:spcAft>
            </a:pPr>
            <a:r>
              <a:rPr lang="en-AE" sz="1600" b="1" dirty="0">
                <a:latin typeface="Times New Roman" panose="02020603050405020304" pitchFamily="18" charset="0"/>
                <a:ea typeface="Calibri" panose="020F0502020204030204" pitchFamily="34" charset="0"/>
                <a:cs typeface="Times New Roman" panose="02020603050405020304" pitchFamily="18" charset="0"/>
              </a:rPr>
              <a:t>Top 3 Facilities: </a:t>
            </a: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These facilities have all demonstrated strong performance in a variety of areas, including safety, efficiency, and quality of care. </a:t>
            </a: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Total Renal Care, INC</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 has achieved a total performance score of 61.81, which is the highest in the dataset. They have excelled in clinical outcomes, with low rates of hospitalization and mortality. </a:t>
            </a:r>
            <a:endParaRPr lang="en-AE" sz="1600" kern="100" dirty="0">
              <a:effectLst/>
              <a:latin typeface="Times New Roman" panose="02020603050405020304" pitchFamily="18"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TOTAL RENAL CARE INC and ISD RENAL INC have also performed well, with scores of 59.05 and 58.80 respectively. They have both shown strong patient experience metrics and have implemented effective safety standards</a:t>
            </a:r>
            <a:endParaRPr lang="en-AE" sz="1600" kern="100" dirty="0">
              <a:latin typeface="Times New Roman" panose="02020603050405020304" pitchFamily="18" charset="0"/>
              <a:ea typeface="Calibri" panose="020F0502020204030204" pitchFamily="34" charset="0"/>
              <a:cs typeface="Times New Roman" panose="02020603050405020304" pitchFamily="18" charset="0"/>
            </a:endParaRPr>
          </a:p>
          <a:p>
            <a:pPr>
              <a:lnSpc>
                <a:spcPct val="107000"/>
              </a:lnSpc>
              <a:spcAft>
                <a:spcPts val="800"/>
              </a:spcAft>
            </a:pPr>
            <a:r>
              <a:rPr lang="en-AE" sz="1600" b="1" dirty="0">
                <a:effectLst/>
                <a:latin typeface="Times New Roman" panose="02020603050405020304" pitchFamily="18" charset="0"/>
                <a:ea typeface="Times New Roman" panose="02020603050405020304" pitchFamily="18" charset="0"/>
                <a:cs typeface="Times New Roman" panose="02020603050405020304" pitchFamily="18" charset="0"/>
              </a:rPr>
              <a:t>Solutions for Improving Performance</a:t>
            </a:r>
          </a:p>
          <a:p>
            <a:pPr marL="285750" indent="-285750">
              <a:lnSpc>
                <a:spcPct val="107000"/>
              </a:lnSpc>
              <a:spcAft>
                <a:spcPts val="800"/>
              </a:spcAft>
              <a:buFont typeface="Wingdings" panose="05000000000000000000" pitchFamily="2" charset="2"/>
              <a:buChar char="Ø"/>
            </a:pPr>
            <a:r>
              <a:rPr lang="en-AE" sz="1600" dirty="0">
                <a:latin typeface="Times New Roman" panose="02020603050405020304" pitchFamily="18" charset="0"/>
                <a:ea typeface="Calibri" panose="020F0502020204030204" pitchFamily="34" charset="0"/>
                <a:cs typeface="Times New Roman" panose="02020603050405020304" pitchFamily="18" charset="0"/>
              </a:rPr>
              <a:t>R</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educing infection rates or improving patient satisfaction.</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Invest in staff training and development. By providing ongoing education and support</a:t>
            </a:r>
          </a:p>
          <a:p>
            <a:pPr marL="285750" indent="-285750">
              <a:lnSpc>
                <a:spcPct val="107000"/>
              </a:lnSpc>
              <a:spcAft>
                <a:spcPts val="800"/>
              </a:spcAft>
              <a:buFont typeface="Wingdings" panose="05000000000000000000" pitchFamily="2" charset="2"/>
              <a:buChar char="Ø"/>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Facilities can collaborate with other organizations and share best practices to learn from one another and drive continuous improvement</a:t>
            </a:r>
            <a:endParaRPr lang="en-AE" sz="1600" kern="1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Chart 4">
            <a:extLst>
              <a:ext uri="{FF2B5EF4-FFF2-40B4-BE49-F238E27FC236}">
                <a16:creationId xmlns="" xmlns:a16="http://schemas.microsoft.com/office/drawing/2014/main" id="{00000000-0008-0000-0800-000005000000}"/>
              </a:ext>
            </a:extLst>
          </p:cNvPr>
          <p:cNvGraphicFramePr>
            <a:graphicFrameLocks/>
          </p:cNvGraphicFramePr>
          <p:nvPr>
            <p:extLst>
              <p:ext uri="{D42A27DB-BD31-4B8C-83A1-F6EECF244321}">
                <p14:modId xmlns:p14="http://schemas.microsoft.com/office/powerpoint/2010/main" val="1728489792"/>
              </p:ext>
            </p:extLst>
          </p:nvPr>
        </p:nvGraphicFramePr>
        <p:xfrm>
          <a:off x="7947351" y="1001187"/>
          <a:ext cx="4061008" cy="35120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06714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69F2B50D-44F7-2D4C-8FF4-26BB3602AC8D}"/>
              </a:ext>
            </a:extLst>
          </p:cNvPr>
          <p:cNvSpPr/>
          <p:nvPr/>
        </p:nvSpPr>
        <p:spPr>
          <a:xfrm>
            <a:off x="7747517"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 xmlns:a16="http://schemas.microsoft.com/office/drawing/2014/main" id="{DEA02C75-7E82-5148-A7D4-EF5BF80D21B2}"/>
              </a:ext>
            </a:extLst>
          </p:cNvPr>
          <p:cNvSpPr txBox="1"/>
          <p:nvPr/>
        </p:nvSpPr>
        <p:spPr>
          <a:xfrm>
            <a:off x="222123" y="-93252"/>
            <a:ext cx="7099946" cy="523220"/>
          </a:xfrm>
          <a:prstGeom prst="rect">
            <a:avLst/>
          </a:prstGeom>
          <a:noFill/>
        </p:spPr>
        <p:txBody>
          <a:bodyPr wrap="square" rtlCol="0">
            <a:spAutoFit/>
          </a:bodyPr>
          <a:lstStyle/>
          <a:p>
            <a:pPr algn="ctr"/>
            <a:r>
              <a:rPr lang="en-IN" sz="2800" b="1" spc="-150" dirty="0">
                <a:solidFill>
                  <a:srgbClr val="1CADE4"/>
                </a:solidFill>
                <a:latin typeface="Segoe UI" panose="020B0502040204020203" pitchFamily="34" charset="0"/>
                <a:cs typeface="Segoe UI" panose="020B0502040204020203" pitchFamily="34" charset="0"/>
              </a:rPr>
              <a:t>KPI - 8</a:t>
            </a:r>
            <a:endParaRPr lang="en-US" sz="2800" b="1" spc="-150" dirty="0">
              <a:solidFill>
                <a:srgbClr val="1CADE4"/>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 xmlns:a16="http://schemas.microsoft.com/office/drawing/2014/main" id="{DCCBA348-AA22-D74E-97D5-23B1BCCC5CE8}"/>
              </a:ext>
            </a:extLst>
          </p:cNvPr>
          <p:cNvSpPr/>
          <p:nvPr/>
        </p:nvSpPr>
        <p:spPr>
          <a:xfrm>
            <a:off x="345948" y="416695"/>
            <a:ext cx="7099946" cy="6222230"/>
          </a:xfrm>
          <a:prstGeom prst="rect">
            <a:avLst/>
          </a:prstGeom>
          <a:solidFill>
            <a:sysClr val="window" lastClr="FFFFFF"/>
          </a:solidFill>
          <a:ln w="12700" cap="flat" cmpd="sng" algn="ctr">
            <a:noFill/>
            <a:prstDash val="solid"/>
            <a:miter lim="800000"/>
          </a:ln>
          <a:effectLst>
            <a:outerShdw blurRad="622300" dist="50800" dir="5400000" algn="ctr" rotWithShape="0">
              <a:srgbClr val="000000">
                <a:alpha val="43137"/>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This metric is important because it helps us understand the financial impact of dialysis treatments on patients and healthcare providers.</a:t>
            </a:r>
          </a:p>
          <a:p>
            <a:pPr marL="0" marR="0" lvl="0" indent="0" defTabSz="914400" eaLnBrk="1" fontAlgn="auto" latinLnBrk="0" hangingPunct="1">
              <a:lnSpc>
                <a:spcPct val="100000"/>
              </a:lnSpc>
              <a:spcBef>
                <a:spcPts val="0"/>
              </a:spcBef>
              <a:spcAft>
                <a:spcPts val="0"/>
              </a:spcAft>
              <a:buClrTx/>
              <a:buSzTx/>
              <a:buFontTx/>
              <a:buNone/>
              <a:tabLst/>
              <a:defRPr/>
            </a:pPr>
            <a:endParaRPr lang="en-AE" sz="16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AE" sz="1600" b="1" dirty="0">
                <a:effectLst/>
                <a:latin typeface="Times New Roman" panose="02020603050405020304" pitchFamily="18" charset="0"/>
                <a:ea typeface="Calibri" panose="020F0502020204030204" pitchFamily="34" charset="0"/>
                <a:cs typeface="Times New Roman" panose="02020603050405020304" pitchFamily="18" charset="0"/>
              </a:rPr>
              <a:t>Insights</a:t>
            </a:r>
            <a:r>
              <a:rPr lang="en-AE" sz="1600" b="1" dirty="0">
                <a:latin typeface="Times New Roman" panose="02020603050405020304" pitchFamily="18" charset="0"/>
                <a:ea typeface="Calibri" panose="020F0502020204030204" pitchFamily="34" charset="0"/>
                <a:cs typeface="Times New Roman" panose="02020603050405020304" pitchFamily="18" charset="0"/>
              </a:rPr>
              <a:t>: </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AE" sz="1600" b="1" dirty="0">
              <a:latin typeface="Times New Roman" panose="02020603050405020304" pitchFamily="18" charset="0"/>
              <a:ea typeface="Calibri" panose="020F0502020204030204" pitchFamily="34" charset="0"/>
              <a:cs typeface="Times New Roman" panose="02020603050405020304" pitchFamily="18"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E" sz="1600" dirty="0">
                <a:latin typeface="Times New Roman" panose="02020603050405020304" pitchFamily="18" charset="0"/>
                <a:ea typeface="Calibri" panose="020F0502020204030204" pitchFamily="34" charset="0"/>
                <a:cs typeface="Times New Roman" panose="02020603050405020304" pitchFamily="18" charset="0"/>
              </a:rPr>
              <a:t>P</a:t>
            </a: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atients who receive longer or more frequent treatments tend to have higher payment reduction rates.</a:t>
            </a:r>
            <a:endParaRPr lang="en-AE" sz="1600" dirty="0">
              <a:latin typeface="Times New Roman" panose="02020603050405020304" pitchFamily="18" charset="0"/>
              <a:ea typeface="Calibri" panose="020F0502020204030204" pitchFamily="34" charset="0"/>
              <a:cs typeface="Times New Roman" panose="02020603050405020304" pitchFamily="18" charset="0"/>
            </a:endParaRPr>
          </a:p>
          <a:p>
            <a:pPr>
              <a:defRPr/>
            </a:pPr>
            <a:endParaRPr lang="en-AE" sz="1600" dirty="0">
              <a:effectLst/>
              <a:latin typeface="Times New Roman" panose="02020603050405020304" pitchFamily="18" charset="0"/>
              <a:ea typeface="Calibri" panose="020F0502020204030204" pitchFamily="34" charset="0"/>
              <a:cs typeface="Times New Roman" panose="02020603050405020304" pitchFamily="18" charset="0"/>
            </a:endParaRPr>
          </a:p>
          <a:p>
            <a:pPr>
              <a:defRPr/>
            </a:pPr>
            <a:r>
              <a:rPr lang="en-AE" sz="1600" b="1" dirty="0">
                <a:effectLst/>
                <a:latin typeface="Times New Roman" panose="02020603050405020304" pitchFamily="18" charset="0"/>
                <a:ea typeface="Calibri" panose="020F0502020204030204" pitchFamily="34" charset="0"/>
                <a:cs typeface="Times New Roman" panose="02020603050405020304" pitchFamily="18" charset="0"/>
              </a:rPr>
              <a:t>Challenges</a:t>
            </a:r>
            <a:r>
              <a:rPr lang="en-AE" sz="1600" b="1" dirty="0">
                <a:latin typeface="Times New Roman" panose="02020603050405020304" pitchFamily="18" charset="0"/>
                <a:ea typeface="Calibri" panose="020F0502020204030204" pitchFamily="34" charset="0"/>
                <a:cs typeface="Times New Roman" panose="02020603050405020304" pitchFamily="18" charset="0"/>
              </a:rPr>
              <a:t>: </a:t>
            </a:r>
          </a:p>
          <a:p>
            <a:pPr>
              <a:defRPr/>
            </a:pPr>
            <a:endParaRPr lang="en-AE" sz="1600" b="1" dirty="0">
              <a:latin typeface="Times New Roman" panose="02020603050405020304" pitchFamily="18"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defRPr/>
            </a:pPr>
            <a:r>
              <a:rPr lang="en-AE" sz="1600" dirty="0">
                <a:effectLst/>
                <a:latin typeface="Times New Roman" panose="02020603050405020304" pitchFamily="18" charset="0"/>
                <a:ea typeface="Times New Roman" panose="02020603050405020304" pitchFamily="18" charset="0"/>
                <a:cs typeface="Times New Roman" panose="02020603050405020304" pitchFamily="18" charset="0"/>
              </a:rPr>
              <a:t>One major obstacle is the high cost of dialysis treatments, which can make it difficult for healthcare providers to provide high-quality care while also keeping costs low.</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there are often disparities in access to care and resources among different patient populations, which can further complicate efforts to reduce payment reduction rates.</a:t>
            </a:r>
          </a:p>
          <a:p>
            <a:pPr marL="0" marR="0" lvl="0" indent="0" defTabSz="914400" eaLnBrk="1" fontAlgn="auto" latinLnBrk="0" hangingPunct="1">
              <a:lnSpc>
                <a:spcPct val="100000"/>
              </a:lnSpc>
              <a:spcBef>
                <a:spcPts val="0"/>
              </a:spcBef>
              <a:spcAft>
                <a:spcPts val="0"/>
              </a:spcAft>
              <a:buClrTx/>
              <a:buSzTx/>
              <a:buFontTx/>
              <a:buNone/>
              <a:tabLst/>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 </a:t>
            </a:r>
          </a:p>
          <a:p>
            <a:pPr marL="0" marR="0" lvl="0" indent="0" defTabSz="914400" eaLnBrk="1" fontAlgn="auto" latinLnBrk="0" hangingPunct="1">
              <a:lnSpc>
                <a:spcPct val="100000"/>
              </a:lnSpc>
              <a:spcBef>
                <a:spcPts val="0"/>
              </a:spcBef>
              <a:spcAft>
                <a:spcPts val="0"/>
              </a:spcAft>
              <a:buClrTx/>
              <a:buSzTx/>
              <a:buFontTx/>
              <a:buNone/>
              <a:tabLst/>
              <a:defRPr/>
            </a:pPr>
            <a:r>
              <a:rPr lang="en-AE" sz="1600" b="1" dirty="0">
                <a:effectLst/>
                <a:latin typeface="Times New Roman" panose="02020603050405020304" pitchFamily="18" charset="0"/>
                <a:ea typeface="Calibri" panose="020F0502020204030204" pitchFamily="34" charset="0"/>
                <a:cs typeface="Times New Roman" panose="02020603050405020304" pitchFamily="18" charset="0"/>
              </a:rPr>
              <a:t>Solution:</a:t>
            </a:r>
            <a:r>
              <a:rPr kumimoji="0" lang="en-AE" sz="1600" b="0" i="0" u="none" strike="noStrike" kern="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AE" sz="1600" b="0" i="0" u="none" strike="noStrike" kern="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By leveraging technology and data analytics, we can also identify areas where improvements can be made and develop targeted interventions to reduce payment reduction rates. </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E" sz="1600" dirty="0">
                <a:effectLst/>
                <a:latin typeface="Times New Roman" panose="02020603050405020304" pitchFamily="18" charset="0"/>
                <a:ea typeface="Calibri" panose="020F0502020204030204" pitchFamily="34" charset="0"/>
                <a:cs typeface="Times New Roman" panose="02020603050405020304" pitchFamily="18" charset="0"/>
              </a:rPr>
              <a:t>These include improving patient education and self-care, increasing access to preventative care and early intervention, and implementing more efficient and cost-effective treatment protocols.</a:t>
            </a:r>
            <a:endParaRPr kumimoji="0" lang="en-IN" sz="1600" b="0"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aphicFrame>
        <p:nvGraphicFramePr>
          <p:cNvPr id="2" name="Chart 1">
            <a:extLst>
              <a:ext uri="{FF2B5EF4-FFF2-40B4-BE49-F238E27FC236}">
                <a16:creationId xmlns="" xmlns:a16="http://schemas.microsoft.com/office/drawing/2014/main" id="{00000000-0008-0000-0800-000006000000}"/>
              </a:ext>
            </a:extLst>
          </p:cNvPr>
          <p:cNvGraphicFramePr>
            <a:graphicFrameLocks/>
          </p:cNvGraphicFramePr>
          <p:nvPr>
            <p:extLst>
              <p:ext uri="{D42A27DB-BD31-4B8C-83A1-F6EECF244321}">
                <p14:modId xmlns:p14="http://schemas.microsoft.com/office/powerpoint/2010/main" val="705201733"/>
              </p:ext>
            </p:extLst>
          </p:nvPr>
        </p:nvGraphicFramePr>
        <p:xfrm>
          <a:off x="7747517" y="1717309"/>
          <a:ext cx="4183581" cy="342338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19780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7A8BD3D0-400E-0F4D-94BC-1FEA2833DCFB}"/>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4894"/>
                    </a14:imgEffect>
                    <a14:imgEffect>
                      <a14:saturation sat="45000"/>
                    </a14:imgEffect>
                    <a14:imgEffect>
                      <a14:brightnessContrast bright="10000"/>
                    </a14:imgEffect>
                  </a14:imgLayer>
                </a14:imgProps>
              </a:ext>
            </a:extLst>
          </a:blip>
          <a:srcRect l="3677" t="19064" r="1401" b="2486"/>
          <a:stretch/>
        </p:blipFill>
        <p:spPr>
          <a:xfrm>
            <a:off x="0" y="0"/>
            <a:ext cx="12192001" cy="6858000"/>
          </a:xfrm>
          <a:prstGeom prst="rect">
            <a:avLst/>
          </a:prstGeom>
        </p:spPr>
      </p:pic>
      <p:sp>
        <p:nvSpPr>
          <p:cNvPr id="11" name="Rectangle 10">
            <a:extLst>
              <a:ext uri="{FF2B5EF4-FFF2-40B4-BE49-F238E27FC236}">
                <a16:creationId xmlns="" xmlns:a16="http://schemas.microsoft.com/office/drawing/2014/main" id="{5511310C-32E7-494C-97D5-CAF406A17F3F}"/>
              </a:ext>
            </a:extLst>
          </p:cNvPr>
          <p:cNvSpPr/>
          <p:nvPr/>
        </p:nvSpPr>
        <p:spPr>
          <a:xfrm>
            <a:off x="0" y="0"/>
            <a:ext cx="12192000" cy="6858000"/>
          </a:xfrm>
          <a:prstGeom prst="rect">
            <a:avLst/>
          </a:prstGeom>
          <a:solidFill>
            <a:schemeClr val="tx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 xmlns:a16="http://schemas.microsoft.com/office/drawing/2014/main" id="{B0D11329-5128-5F4B-B47A-3FD31C9B55F0}"/>
              </a:ext>
            </a:extLst>
          </p:cNvPr>
          <p:cNvSpPr/>
          <p:nvPr/>
        </p:nvSpPr>
        <p:spPr>
          <a:xfrm>
            <a:off x="1" y="214604"/>
            <a:ext cx="12191999" cy="3031617"/>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 xmlns:a16="http://schemas.microsoft.com/office/drawing/2014/main" id="{153291BC-C528-6E4D-812D-80EAA3FC6A45}"/>
              </a:ext>
            </a:extLst>
          </p:cNvPr>
          <p:cNvSpPr txBox="1"/>
          <p:nvPr/>
        </p:nvSpPr>
        <p:spPr>
          <a:xfrm>
            <a:off x="2918093" y="2025319"/>
            <a:ext cx="6355814" cy="707886"/>
          </a:xfrm>
          <a:prstGeom prst="rect">
            <a:avLst/>
          </a:prstGeom>
          <a:noFill/>
        </p:spPr>
        <p:txBody>
          <a:bodyPr wrap="square" rtlCol="0">
            <a:spAutoFit/>
          </a:bodyPr>
          <a:lstStyle/>
          <a:p>
            <a:pPr algn="ctr"/>
            <a:r>
              <a:rPr lang="en-US" sz="4000" b="1" spc="-150" dirty="0">
                <a:solidFill>
                  <a:prstClr val="white"/>
                </a:solidFill>
                <a:latin typeface="Montserrat" panose="00000500000000000000" pitchFamily="50" charset="0"/>
                <a:ea typeface="Source Sans Pro" panose="020B0503030403020204" pitchFamily="34" charset="0"/>
                <a:cs typeface="Open Sans" panose="020B0606030504020204" pitchFamily="34" charset="0"/>
              </a:rPr>
              <a:t>THANK YOU</a:t>
            </a:r>
          </a:p>
        </p:txBody>
      </p:sp>
      <p:sp>
        <p:nvSpPr>
          <p:cNvPr id="2" name="TextBox 1">
            <a:extLst>
              <a:ext uri="{FF2B5EF4-FFF2-40B4-BE49-F238E27FC236}">
                <a16:creationId xmlns="" xmlns:a16="http://schemas.microsoft.com/office/drawing/2014/main" id="{0DB2D02B-540F-D940-BBED-DB36EEB947AF}"/>
              </a:ext>
            </a:extLst>
          </p:cNvPr>
          <p:cNvSpPr txBox="1"/>
          <p:nvPr/>
        </p:nvSpPr>
        <p:spPr>
          <a:xfrm>
            <a:off x="7653528" y="-896112"/>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7840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 xmlns:a16="http://schemas.microsoft.com/office/drawing/2014/main" id="{EDD4817F-3CEA-5943-9A23-F3645D75C893}"/>
              </a:ext>
            </a:extLst>
          </p:cNvPr>
          <p:cNvSpPr/>
          <p:nvPr/>
        </p:nvSpPr>
        <p:spPr>
          <a:xfrm>
            <a:off x="1" y="-93306"/>
            <a:ext cx="12191999" cy="3599046"/>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 xmlns:a16="http://schemas.microsoft.com/office/drawing/2014/main" id="{06445513-F9C2-D446-8D80-6FB6A7AEBC65}"/>
              </a:ext>
            </a:extLst>
          </p:cNvPr>
          <p:cNvSpPr txBox="1"/>
          <p:nvPr/>
        </p:nvSpPr>
        <p:spPr>
          <a:xfrm>
            <a:off x="1033200" y="368890"/>
            <a:ext cx="10125600" cy="707886"/>
          </a:xfrm>
          <a:prstGeom prst="rect">
            <a:avLst/>
          </a:prstGeom>
          <a:noFill/>
        </p:spPr>
        <p:txBody>
          <a:bodyPr wrap="square" rtlCol="0">
            <a:spAutoFit/>
          </a:bodyPr>
          <a:lstStyle/>
          <a:p>
            <a:pPr algn="ctr"/>
            <a:r>
              <a:rPr lang="en-US" sz="4000" b="1" spc="-150" dirty="0">
                <a:solidFill>
                  <a:prstClr val="white"/>
                </a:solidFill>
                <a:latin typeface="Segoe UI" panose="020B0502040204020203" pitchFamily="34" charset="0"/>
                <a:ea typeface="Source Sans Pro" panose="020B0503030403020204" pitchFamily="34" charset="0"/>
                <a:cs typeface="Segoe UI" panose="020B0502040204020203" pitchFamily="34" charset="0"/>
              </a:rPr>
              <a:t>Team Members</a:t>
            </a:r>
          </a:p>
        </p:txBody>
      </p:sp>
      <p:sp>
        <p:nvSpPr>
          <p:cNvPr id="3" name="Google Shape;789;p103">
            <a:extLst>
              <a:ext uri="{FF2B5EF4-FFF2-40B4-BE49-F238E27FC236}">
                <a16:creationId xmlns="" xmlns:a16="http://schemas.microsoft.com/office/drawing/2014/main" id="{C2E1FE51-1342-5F64-C619-FFD1222E3241}"/>
              </a:ext>
            </a:extLst>
          </p:cNvPr>
          <p:cNvSpPr/>
          <p:nvPr/>
        </p:nvSpPr>
        <p:spPr>
          <a:xfrm>
            <a:off x="1270394" y="2780822"/>
            <a:ext cx="2482782" cy="1692766"/>
          </a:xfrm>
          <a:prstGeom prst="roundRect">
            <a:avLst>
              <a:gd name="adj" fmla="val 16667"/>
            </a:avLst>
          </a:prstGeom>
          <a:solidFill>
            <a:schemeClr val="lt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 name="Rectangle 17">
            <a:extLst>
              <a:ext uri="{FF2B5EF4-FFF2-40B4-BE49-F238E27FC236}">
                <a16:creationId xmlns="" xmlns:a16="http://schemas.microsoft.com/office/drawing/2014/main" id="{BC90A9B1-386E-E04B-8FE2-2CC159AEFC96}"/>
              </a:ext>
            </a:extLst>
          </p:cNvPr>
          <p:cNvSpPr/>
          <p:nvPr/>
        </p:nvSpPr>
        <p:spPr>
          <a:xfrm>
            <a:off x="1768472" y="3429000"/>
            <a:ext cx="1486625" cy="369332"/>
          </a:xfrm>
          <a:prstGeom prst="rect">
            <a:avLst/>
          </a:prstGeom>
        </p:spPr>
        <p:txBody>
          <a:bodyPr wrap="none">
            <a:spAutoFit/>
          </a:bodyPr>
          <a:lstStyle/>
          <a:p>
            <a:pPr algn="ctr"/>
            <a:r>
              <a:rPr lang="en-US" b="1" dirty="0">
                <a:solidFill>
                  <a:prstClr val="black"/>
                </a:solidFill>
                <a:latin typeface="Segoe UI" panose="020B0502040204020203" pitchFamily="34" charset="0"/>
                <a:ea typeface="Lato Black" panose="020F0502020204030203" pitchFamily="34" charset="0"/>
                <a:cs typeface="Segoe UI" panose="020B0502040204020203" pitchFamily="34" charset="0"/>
              </a:rPr>
              <a:t>Swati Jadon</a:t>
            </a:r>
            <a:endParaRPr lang="id-ID" b="1" dirty="0">
              <a:solidFill>
                <a:prstClr val="black"/>
              </a:solidFill>
              <a:latin typeface="Segoe UI" panose="020B0502040204020203" pitchFamily="34" charset="0"/>
              <a:ea typeface="Lato Black" panose="020F0502020204030203" pitchFamily="34" charset="0"/>
              <a:cs typeface="Segoe UI" panose="020B0502040204020203" pitchFamily="34" charset="0"/>
            </a:endParaRPr>
          </a:p>
        </p:txBody>
      </p:sp>
      <p:sp>
        <p:nvSpPr>
          <p:cNvPr id="5" name="Google Shape;789;p103">
            <a:extLst>
              <a:ext uri="{FF2B5EF4-FFF2-40B4-BE49-F238E27FC236}">
                <a16:creationId xmlns="" xmlns:a16="http://schemas.microsoft.com/office/drawing/2014/main" id="{CE1E2E9A-4159-11E2-6D44-3A3F53C4CF21}"/>
              </a:ext>
            </a:extLst>
          </p:cNvPr>
          <p:cNvSpPr/>
          <p:nvPr/>
        </p:nvSpPr>
        <p:spPr>
          <a:xfrm>
            <a:off x="8523304" y="2775771"/>
            <a:ext cx="2482781" cy="1697817"/>
          </a:xfrm>
          <a:prstGeom prst="roundRect">
            <a:avLst>
              <a:gd name="adj" fmla="val 16667"/>
            </a:avLst>
          </a:prstGeom>
          <a:solidFill>
            <a:schemeClr val="lt2"/>
          </a:solidFill>
          <a:ln>
            <a:noFill/>
          </a:ln>
        </p:spPr>
        <p:txBody>
          <a:bodyPr spcFirstLastPara="1" wrap="square" lIns="121900" tIns="121900" rIns="121900" bIns="121900" anchor="ctr" anchorCtr="0">
            <a:noAutofit/>
          </a:bodyPr>
          <a:lstStyle/>
          <a:p>
            <a:pPr defTabSz="1219170">
              <a:buClr>
                <a:srgbClr val="000000"/>
              </a:buClr>
            </a:pPr>
            <a:endParaRPr sz="1867" kern="0" dirty="0">
              <a:solidFill>
                <a:srgbClr val="000000"/>
              </a:solidFill>
              <a:latin typeface="Arial"/>
              <a:cs typeface="Arial"/>
              <a:sym typeface="Arial"/>
            </a:endParaRPr>
          </a:p>
        </p:txBody>
      </p:sp>
      <p:sp>
        <p:nvSpPr>
          <p:cNvPr id="4" name="Google Shape;789;p103">
            <a:extLst>
              <a:ext uri="{FF2B5EF4-FFF2-40B4-BE49-F238E27FC236}">
                <a16:creationId xmlns="" xmlns:a16="http://schemas.microsoft.com/office/drawing/2014/main" id="{87F0477C-CA77-FEA8-CF99-438ABA1FC8F5}"/>
              </a:ext>
            </a:extLst>
          </p:cNvPr>
          <p:cNvSpPr/>
          <p:nvPr/>
        </p:nvSpPr>
        <p:spPr>
          <a:xfrm>
            <a:off x="4854609" y="2771500"/>
            <a:ext cx="2482781" cy="1697817"/>
          </a:xfrm>
          <a:prstGeom prst="roundRect">
            <a:avLst>
              <a:gd name="adj" fmla="val 16667"/>
            </a:avLst>
          </a:prstGeom>
          <a:solidFill>
            <a:schemeClr val="lt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 name="Rectangle 19">
            <a:extLst>
              <a:ext uri="{FF2B5EF4-FFF2-40B4-BE49-F238E27FC236}">
                <a16:creationId xmlns="" xmlns:a16="http://schemas.microsoft.com/office/drawing/2014/main" id="{83998152-38A8-ED40-86FA-C988A4BB0334}"/>
              </a:ext>
            </a:extLst>
          </p:cNvPr>
          <p:cNvSpPr/>
          <p:nvPr/>
        </p:nvSpPr>
        <p:spPr>
          <a:xfrm>
            <a:off x="5264457" y="3417100"/>
            <a:ext cx="1663084" cy="369332"/>
          </a:xfrm>
          <a:prstGeom prst="rect">
            <a:avLst/>
          </a:prstGeom>
        </p:spPr>
        <p:txBody>
          <a:bodyPr wrap="square">
            <a:spAutoFit/>
          </a:bodyPr>
          <a:lstStyle/>
          <a:p>
            <a:pPr algn="ctr"/>
            <a:r>
              <a:rPr lang="en-US" b="1" dirty="0">
                <a:solidFill>
                  <a:prstClr val="black"/>
                </a:solidFill>
                <a:latin typeface="Segoe UI" panose="020B0502040204020203" pitchFamily="34" charset="0"/>
                <a:ea typeface="Lato Black" panose="020F0502020204030203" pitchFamily="34" charset="0"/>
                <a:cs typeface="Segoe UI" panose="020B0502040204020203" pitchFamily="34" charset="0"/>
              </a:rPr>
              <a:t>Afrin Fathima</a:t>
            </a:r>
            <a:endParaRPr lang="id-ID" b="1" dirty="0">
              <a:solidFill>
                <a:prstClr val="black"/>
              </a:solidFill>
              <a:latin typeface="Segoe UI" panose="020B0502040204020203" pitchFamily="34" charset="0"/>
              <a:ea typeface="Lato Black" panose="020F0502020204030203" pitchFamily="34" charset="0"/>
              <a:cs typeface="Segoe UI" panose="020B0502040204020203" pitchFamily="34" charset="0"/>
            </a:endParaRPr>
          </a:p>
        </p:txBody>
      </p:sp>
      <p:sp>
        <p:nvSpPr>
          <p:cNvPr id="22" name="Rectangle 21">
            <a:extLst>
              <a:ext uri="{FF2B5EF4-FFF2-40B4-BE49-F238E27FC236}">
                <a16:creationId xmlns="" xmlns:a16="http://schemas.microsoft.com/office/drawing/2014/main" id="{E04105BF-EEB7-A14F-A714-035E2CE05ED8}"/>
              </a:ext>
            </a:extLst>
          </p:cNvPr>
          <p:cNvSpPr/>
          <p:nvPr/>
        </p:nvSpPr>
        <p:spPr>
          <a:xfrm>
            <a:off x="9014167" y="3430219"/>
            <a:ext cx="1409361" cy="369332"/>
          </a:xfrm>
          <a:prstGeom prst="rect">
            <a:avLst/>
          </a:prstGeom>
        </p:spPr>
        <p:txBody>
          <a:bodyPr wrap="square">
            <a:spAutoFit/>
          </a:bodyPr>
          <a:lstStyle/>
          <a:p>
            <a:pPr algn="ctr"/>
            <a:r>
              <a:rPr lang="en-US" b="1" dirty="0" err="1">
                <a:solidFill>
                  <a:prstClr val="black"/>
                </a:solidFill>
                <a:latin typeface="Segoe UI" panose="020B0502040204020203" pitchFamily="34" charset="0"/>
                <a:ea typeface="Lato Black" panose="020F0502020204030203" pitchFamily="34" charset="0"/>
                <a:cs typeface="Segoe UI" panose="020B0502040204020203" pitchFamily="34" charset="0"/>
              </a:rPr>
              <a:t>Aswathi</a:t>
            </a:r>
            <a:endParaRPr lang="id-ID" b="1" dirty="0">
              <a:solidFill>
                <a:prstClr val="black"/>
              </a:solidFill>
              <a:latin typeface="Segoe UI" panose="020B0502040204020203" pitchFamily="34" charset="0"/>
              <a:ea typeface="Lato Black" panose="020F0502020204030203" pitchFamily="34" charset="0"/>
              <a:cs typeface="Segoe UI" panose="020B0502040204020203" pitchFamily="34" charset="0"/>
            </a:endParaRPr>
          </a:p>
        </p:txBody>
      </p:sp>
    </p:spTree>
    <p:extLst>
      <p:ext uri="{BB962C8B-B14F-4D97-AF65-F5344CB8AC3E}">
        <p14:creationId xmlns:p14="http://schemas.microsoft.com/office/powerpoint/2010/main" val="607383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anim calcmode="lin" valueType="num">
                                      <p:cBhvr>
                                        <p:cTn id="8" dur="2000" fill="hold"/>
                                        <p:tgtEl>
                                          <p:spTgt spid="3"/>
                                        </p:tgtEl>
                                        <p:attrNameLst>
                                          <p:attrName>ppt_w</p:attrName>
                                        </p:attrNameLst>
                                      </p:cBhvr>
                                      <p:tavLst>
                                        <p:tav tm="0" fmla="#ppt_w*sin(2.5*pi*$)">
                                          <p:val>
                                            <p:fltVal val="0"/>
                                          </p:val>
                                        </p:tav>
                                        <p:tav tm="100000">
                                          <p:val>
                                            <p:fltVal val="1"/>
                                          </p:val>
                                        </p:tav>
                                      </p:tavLst>
                                    </p:anim>
                                    <p:anim calcmode="lin" valueType="num">
                                      <p:cBhvr>
                                        <p:cTn id="9" dur="2000" fill="hold"/>
                                        <p:tgtEl>
                                          <p:spTgt spid="3"/>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6"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circle(in)">
                                      <p:cBhvr>
                                        <p:cTn id="14" dur="20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heel(1)">
                                      <p:cBhvr>
                                        <p:cTn id="19"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 xmlns:a16="http://schemas.microsoft.com/office/drawing/2014/main" id="{704AC755-DD54-F341-B27E-90D0657D5991}"/>
              </a:ext>
            </a:extLst>
          </p:cNvPr>
          <p:cNvSpPr txBox="1"/>
          <p:nvPr/>
        </p:nvSpPr>
        <p:spPr>
          <a:xfrm>
            <a:off x="737419" y="385134"/>
            <a:ext cx="10717162" cy="707886"/>
          </a:xfrm>
          <a:prstGeom prst="rect">
            <a:avLst/>
          </a:prstGeom>
          <a:noFill/>
        </p:spPr>
        <p:txBody>
          <a:bodyPr wrap="square" rtlCol="0">
            <a:spAutoFit/>
          </a:bodyPr>
          <a:lstStyle/>
          <a:p>
            <a:pPr algn="ctr"/>
            <a:r>
              <a:rPr lang="en-US" sz="4000" b="1" spc="-150" dirty="0">
                <a:solidFill>
                  <a:srgbClr val="2AAEE2"/>
                </a:solidFill>
                <a:latin typeface="Segoe UI" panose="020B0502040204020203" pitchFamily="34" charset="0"/>
                <a:ea typeface="Source Sans Pro" panose="020B0503030403020204" pitchFamily="34" charset="0"/>
                <a:cs typeface="Segoe UI" panose="020B0502040204020203" pitchFamily="34" charset="0"/>
              </a:rPr>
              <a:t>CONTENTS</a:t>
            </a:r>
          </a:p>
        </p:txBody>
      </p:sp>
      <p:grpSp>
        <p:nvGrpSpPr>
          <p:cNvPr id="139" name="Group 138">
            <a:extLst>
              <a:ext uri="{FF2B5EF4-FFF2-40B4-BE49-F238E27FC236}">
                <a16:creationId xmlns="" xmlns:a16="http://schemas.microsoft.com/office/drawing/2014/main" id="{B6EF1BFA-40B8-3946-B098-D1170EA64540}"/>
              </a:ext>
            </a:extLst>
          </p:cNvPr>
          <p:cNvGrpSpPr/>
          <p:nvPr/>
        </p:nvGrpSpPr>
        <p:grpSpPr>
          <a:xfrm>
            <a:off x="861782" y="2456510"/>
            <a:ext cx="1999136" cy="1820280"/>
            <a:chOff x="844575" y="2354581"/>
            <a:chExt cx="2430566" cy="3490041"/>
          </a:xfrm>
        </p:grpSpPr>
        <p:sp>
          <p:nvSpPr>
            <p:cNvPr id="39" name="Freeform 373">
              <a:extLst>
                <a:ext uri="{FF2B5EF4-FFF2-40B4-BE49-F238E27FC236}">
                  <a16:creationId xmlns="" xmlns:a16="http://schemas.microsoft.com/office/drawing/2014/main" id="{B58EF309-0367-E749-B091-75D53CA17E38}"/>
                </a:ext>
              </a:extLst>
            </p:cNvPr>
            <p:cNvSpPr>
              <a:spLocks/>
            </p:cNvSpPr>
            <p:nvPr/>
          </p:nvSpPr>
          <p:spPr bwMode="auto">
            <a:xfrm>
              <a:off x="844575" y="2354581"/>
              <a:ext cx="2430566" cy="3490041"/>
            </a:xfrm>
            <a:custGeom>
              <a:avLst/>
              <a:gdLst>
                <a:gd name="T0" fmla="*/ 175 w 351"/>
                <a:gd name="T1" fmla="*/ 0 h 504"/>
                <a:gd name="T2" fmla="*/ 228 w 351"/>
                <a:gd name="T3" fmla="*/ 52 h 504"/>
                <a:gd name="T4" fmla="*/ 300 w 351"/>
                <a:gd name="T5" fmla="*/ 52 h 504"/>
                <a:gd name="T6" fmla="*/ 315 w 351"/>
                <a:gd name="T7" fmla="*/ 55 h 504"/>
                <a:gd name="T8" fmla="*/ 330 w 351"/>
                <a:gd name="T9" fmla="*/ 61 h 504"/>
                <a:gd name="T10" fmla="*/ 340 w 351"/>
                <a:gd name="T11" fmla="*/ 73 h 504"/>
                <a:gd name="T12" fmla="*/ 348 w 351"/>
                <a:gd name="T13" fmla="*/ 86 h 504"/>
                <a:gd name="T14" fmla="*/ 351 w 351"/>
                <a:gd name="T15" fmla="*/ 103 h 504"/>
                <a:gd name="T16" fmla="*/ 351 w 351"/>
                <a:gd name="T17" fmla="*/ 453 h 504"/>
                <a:gd name="T18" fmla="*/ 348 w 351"/>
                <a:gd name="T19" fmla="*/ 470 h 504"/>
                <a:gd name="T20" fmla="*/ 340 w 351"/>
                <a:gd name="T21" fmla="*/ 483 h 504"/>
                <a:gd name="T22" fmla="*/ 330 w 351"/>
                <a:gd name="T23" fmla="*/ 495 h 504"/>
                <a:gd name="T24" fmla="*/ 315 w 351"/>
                <a:gd name="T25" fmla="*/ 501 h 504"/>
                <a:gd name="T26" fmla="*/ 300 w 351"/>
                <a:gd name="T27" fmla="*/ 504 h 504"/>
                <a:gd name="T28" fmla="*/ 51 w 351"/>
                <a:gd name="T29" fmla="*/ 504 h 504"/>
                <a:gd name="T30" fmla="*/ 35 w 351"/>
                <a:gd name="T31" fmla="*/ 501 h 504"/>
                <a:gd name="T32" fmla="*/ 21 w 351"/>
                <a:gd name="T33" fmla="*/ 495 h 504"/>
                <a:gd name="T34" fmla="*/ 10 w 351"/>
                <a:gd name="T35" fmla="*/ 483 h 504"/>
                <a:gd name="T36" fmla="*/ 2 w 351"/>
                <a:gd name="T37" fmla="*/ 470 h 504"/>
                <a:gd name="T38" fmla="*/ 0 w 351"/>
                <a:gd name="T39" fmla="*/ 453 h 504"/>
                <a:gd name="T40" fmla="*/ 0 w 351"/>
                <a:gd name="T41" fmla="*/ 103 h 504"/>
                <a:gd name="T42" fmla="*/ 2 w 351"/>
                <a:gd name="T43" fmla="*/ 86 h 504"/>
                <a:gd name="T44" fmla="*/ 10 w 351"/>
                <a:gd name="T45" fmla="*/ 73 h 504"/>
                <a:gd name="T46" fmla="*/ 21 w 351"/>
                <a:gd name="T47" fmla="*/ 61 h 504"/>
                <a:gd name="T48" fmla="*/ 35 w 351"/>
                <a:gd name="T49" fmla="*/ 55 h 504"/>
                <a:gd name="T50" fmla="*/ 51 w 351"/>
                <a:gd name="T51" fmla="*/ 52 h 504"/>
                <a:gd name="T52" fmla="*/ 123 w 351"/>
                <a:gd name="T53" fmla="*/ 52 h 504"/>
                <a:gd name="T54" fmla="*/ 175 w 351"/>
                <a:gd name="T5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1" h="504">
                  <a:moveTo>
                    <a:pt x="175" y="0"/>
                  </a:moveTo>
                  <a:lnTo>
                    <a:pt x="228" y="52"/>
                  </a:lnTo>
                  <a:lnTo>
                    <a:pt x="300" y="52"/>
                  </a:lnTo>
                  <a:lnTo>
                    <a:pt x="315" y="55"/>
                  </a:lnTo>
                  <a:lnTo>
                    <a:pt x="330" y="61"/>
                  </a:lnTo>
                  <a:lnTo>
                    <a:pt x="340" y="73"/>
                  </a:lnTo>
                  <a:lnTo>
                    <a:pt x="348" y="86"/>
                  </a:lnTo>
                  <a:lnTo>
                    <a:pt x="351" y="103"/>
                  </a:lnTo>
                  <a:lnTo>
                    <a:pt x="351" y="453"/>
                  </a:lnTo>
                  <a:lnTo>
                    <a:pt x="348" y="470"/>
                  </a:lnTo>
                  <a:lnTo>
                    <a:pt x="340" y="483"/>
                  </a:lnTo>
                  <a:lnTo>
                    <a:pt x="330" y="495"/>
                  </a:lnTo>
                  <a:lnTo>
                    <a:pt x="315" y="501"/>
                  </a:lnTo>
                  <a:lnTo>
                    <a:pt x="300" y="504"/>
                  </a:lnTo>
                  <a:lnTo>
                    <a:pt x="51" y="504"/>
                  </a:lnTo>
                  <a:lnTo>
                    <a:pt x="35" y="501"/>
                  </a:lnTo>
                  <a:lnTo>
                    <a:pt x="21" y="495"/>
                  </a:lnTo>
                  <a:lnTo>
                    <a:pt x="10" y="483"/>
                  </a:lnTo>
                  <a:lnTo>
                    <a:pt x="2" y="470"/>
                  </a:lnTo>
                  <a:lnTo>
                    <a:pt x="0" y="453"/>
                  </a:lnTo>
                  <a:lnTo>
                    <a:pt x="0" y="103"/>
                  </a:lnTo>
                  <a:lnTo>
                    <a:pt x="2" y="86"/>
                  </a:lnTo>
                  <a:lnTo>
                    <a:pt x="10" y="73"/>
                  </a:lnTo>
                  <a:lnTo>
                    <a:pt x="21" y="61"/>
                  </a:lnTo>
                  <a:lnTo>
                    <a:pt x="35" y="55"/>
                  </a:lnTo>
                  <a:lnTo>
                    <a:pt x="51" y="52"/>
                  </a:lnTo>
                  <a:lnTo>
                    <a:pt x="123" y="52"/>
                  </a:lnTo>
                  <a:lnTo>
                    <a:pt x="175" y="0"/>
                  </a:lnTo>
                  <a:close/>
                </a:path>
              </a:pathLst>
            </a:custGeom>
            <a:gradFill>
              <a:gsLst>
                <a:gs pos="0">
                  <a:srgbClr val="1CADE4"/>
                </a:gs>
                <a:gs pos="100000">
                  <a:srgbClr val="42BA97"/>
                </a:gs>
              </a:gsLst>
              <a:lin ang="5400000" scaled="1"/>
            </a:gradFill>
            <a:ln w="0">
              <a:no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6" name="TextBox 45">
              <a:extLst>
                <a:ext uri="{FF2B5EF4-FFF2-40B4-BE49-F238E27FC236}">
                  <a16:creationId xmlns="" xmlns:a16="http://schemas.microsoft.com/office/drawing/2014/main" id="{0CBBFBA9-AF3F-EA44-99F1-510AC3480F98}"/>
                </a:ext>
              </a:extLst>
            </p:cNvPr>
            <p:cNvSpPr txBox="1"/>
            <p:nvPr/>
          </p:nvSpPr>
          <p:spPr>
            <a:xfrm>
              <a:off x="959764" y="3836308"/>
              <a:ext cx="2154912" cy="338554"/>
            </a:xfrm>
            <a:prstGeom prst="rect">
              <a:avLst/>
            </a:prstGeom>
            <a:noFill/>
          </p:spPr>
          <p:txBody>
            <a:bodyPr wrap="square" rtlCol="0">
              <a:spAutoFit/>
            </a:bodyPr>
            <a:lstStyle/>
            <a:p>
              <a:pPr algn="ctr"/>
              <a:r>
                <a:rPr lang="en-US" sz="1600" b="1" dirty="0">
                  <a:solidFill>
                    <a:prstClr val="white"/>
                  </a:solidFill>
                  <a:latin typeface="Segoe UI" panose="020B0502040204020203" pitchFamily="34" charset="0"/>
                  <a:ea typeface="Open Sans" panose="020B0606030504020204" pitchFamily="34" charset="0"/>
                  <a:cs typeface="Segoe UI" panose="020B0502040204020203" pitchFamily="34" charset="0"/>
                </a:rPr>
                <a:t>INTRODUCTION</a:t>
              </a:r>
            </a:p>
          </p:txBody>
        </p:sp>
        <p:grpSp>
          <p:nvGrpSpPr>
            <p:cNvPr id="92" name="Group 91">
              <a:extLst>
                <a:ext uri="{FF2B5EF4-FFF2-40B4-BE49-F238E27FC236}">
                  <a16:creationId xmlns="" xmlns:a16="http://schemas.microsoft.com/office/drawing/2014/main" id="{B1E128CB-035C-0044-B095-50E93C45A3C4}"/>
                </a:ext>
              </a:extLst>
            </p:cNvPr>
            <p:cNvGrpSpPr/>
            <p:nvPr/>
          </p:nvGrpSpPr>
          <p:grpSpPr>
            <a:xfrm>
              <a:off x="1739249" y="2921502"/>
              <a:ext cx="641217" cy="635594"/>
              <a:chOff x="4117975" y="3279775"/>
              <a:chExt cx="361950" cy="358776"/>
            </a:xfrm>
            <a:solidFill>
              <a:schemeClr val="bg1"/>
            </a:solidFill>
          </p:grpSpPr>
          <p:sp>
            <p:nvSpPr>
              <p:cNvPr id="93" name="Freeform 92">
                <a:extLst>
                  <a:ext uri="{FF2B5EF4-FFF2-40B4-BE49-F238E27FC236}">
                    <a16:creationId xmlns="" xmlns:a16="http://schemas.microsoft.com/office/drawing/2014/main" id="{6CC7EAF9-B5C0-1047-A1C4-4D432A81F995}"/>
                  </a:ext>
                </a:extLst>
              </p:cNvPr>
              <p:cNvSpPr>
                <a:spLocks noEditPoints="1"/>
              </p:cNvSpPr>
              <p:nvPr/>
            </p:nvSpPr>
            <p:spPr bwMode="auto">
              <a:xfrm>
                <a:off x="4117975" y="3411538"/>
                <a:ext cx="361950" cy="227013"/>
              </a:xfrm>
              <a:custGeom>
                <a:avLst/>
                <a:gdLst>
                  <a:gd name="T0" fmla="*/ 90 w 96"/>
                  <a:gd name="T1" fmla="*/ 0 h 60"/>
                  <a:gd name="T2" fmla="*/ 6 w 96"/>
                  <a:gd name="T3" fmla="*/ 0 h 60"/>
                  <a:gd name="T4" fmla="*/ 0 w 96"/>
                  <a:gd name="T5" fmla="*/ 6 h 60"/>
                  <a:gd name="T6" fmla="*/ 6 w 96"/>
                  <a:gd name="T7" fmla="*/ 12 h 60"/>
                  <a:gd name="T8" fmla="*/ 8 w 96"/>
                  <a:gd name="T9" fmla="*/ 12 h 60"/>
                  <a:gd name="T10" fmla="*/ 30 w 96"/>
                  <a:gd name="T11" fmla="*/ 48 h 60"/>
                  <a:gd name="T12" fmla="*/ 18 w 96"/>
                  <a:gd name="T13" fmla="*/ 58 h 60"/>
                  <a:gd name="T14" fmla="*/ 20 w 96"/>
                  <a:gd name="T15" fmla="*/ 60 h 60"/>
                  <a:gd name="T16" fmla="*/ 76 w 96"/>
                  <a:gd name="T17" fmla="*/ 60 h 60"/>
                  <a:gd name="T18" fmla="*/ 76 w 96"/>
                  <a:gd name="T19" fmla="*/ 60 h 60"/>
                  <a:gd name="T20" fmla="*/ 78 w 96"/>
                  <a:gd name="T21" fmla="*/ 58 h 60"/>
                  <a:gd name="T22" fmla="*/ 66 w 96"/>
                  <a:gd name="T23" fmla="*/ 48 h 60"/>
                  <a:gd name="T24" fmla="*/ 88 w 96"/>
                  <a:gd name="T25" fmla="*/ 12 h 60"/>
                  <a:gd name="T26" fmla="*/ 90 w 96"/>
                  <a:gd name="T27" fmla="*/ 12 h 60"/>
                  <a:gd name="T28" fmla="*/ 96 w 96"/>
                  <a:gd name="T29" fmla="*/ 6 h 60"/>
                  <a:gd name="T30" fmla="*/ 90 w 96"/>
                  <a:gd name="T31" fmla="*/ 0 h 60"/>
                  <a:gd name="T32" fmla="*/ 40 w 96"/>
                  <a:gd name="T33" fmla="*/ 37 h 60"/>
                  <a:gd name="T34" fmla="*/ 37 w 96"/>
                  <a:gd name="T35" fmla="*/ 38 h 60"/>
                  <a:gd name="T36" fmla="*/ 22 w 96"/>
                  <a:gd name="T37" fmla="*/ 23 h 60"/>
                  <a:gd name="T38" fmla="*/ 23 w 96"/>
                  <a:gd name="T39" fmla="*/ 20 h 60"/>
                  <a:gd name="T40" fmla="*/ 26 w 96"/>
                  <a:gd name="T41" fmla="*/ 21 h 60"/>
                  <a:gd name="T42" fmla="*/ 39 w 96"/>
                  <a:gd name="T43" fmla="*/ 34 h 60"/>
                  <a:gd name="T44" fmla="*/ 40 w 96"/>
                  <a:gd name="T45"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60">
                    <a:moveTo>
                      <a:pt x="90" y="0"/>
                    </a:moveTo>
                    <a:cubicBezTo>
                      <a:pt x="6" y="0"/>
                      <a:pt x="6" y="0"/>
                      <a:pt x="6" y="0"/>
                    </a:cubicBezTo>
                    <a:cubicBezTo>
                      <a:pt x="3" y="0"/>
                      <a:pt x="0" y="3"/>
                      <a:pt x="0" y="6"/>
                    </a:cubicBezTo>
                    <a:cubicBezTo>
                      <a:pt x="0" y="9"/>
                      <a:pt x="3" y="12"/>
                      <a:pt x="6" y="12"/>
                    </a:cubicBezTo>
                    <a:cubicBezTo>
                      <a:pt x="8" y="12"/>
                      <a:pt x="8" y="12"/>
                      <a:pt x="8" y="12"/>
                    </a:cubicBezTo>
                    <a:cubicBezTo>
                      <a:pt x="9" y="27"/>
                      <a:pt x="17" y="41"/>
                      <a:pt x="30" y="48"/>
                    </a:cubicBezTo>
                    <a:cubicBezTo>
                      <a:pt x="23" y="50"/>
                      <a:pt x="18" y="54"/>
                      <a:pt x="18" y="58"/>
                    </a:cubicBezTo>
                    <a:cubicBezTo>
                      <a:pt x="18" y="59"/>
                      <a:pt x="19" y="60"/>
                      <a:pt x="20" y="60"/>
                    </a:cubicBezTo>
                    <a:cubicBezTo>
                      <a:pt x="76" y="60"/>
                      <a:pt x="76" y="60"/>
                      <a:pt x="76" y="60"/>
                    </a:cubicBezTo>
                    <a:cubicBezTo>
                      <a:pt x="76" y="60"/>
                      <a:pt x="76" y="60"/>
                      <a:pt x="76" y="60"/>
                    </a:cubicBezTo>
                    <a:cubicBezTo>
                      <a:pt x="77" y="60"/>
                      <a:pt x="78" y="59"/>
                      <a:pt x="78" y="58"/>
                    </a:cubicBezTo>
                    <a:cubicBezTo>
                      <a:pt x="78" y="53"/>
                      <a:pt x="71" y="49"/>
                      <a:pt x="66" y="48"/>
                    </a:cubicBezTo>
                    <a:cubicBezTo>
                      <a:pt x="79" y="41"/>
                      <a:pt x="87" y="27"/>
                      <a:pt x="88" y="12"/>
                    </a:cubicBezTo>
                    <a:cubicBezTo>
                      <a:pt x="90" y="12"/>
                      <a:pt x="90" y="12"/>
                      <a:pt x="90" y="12"/>
                    </a:cubicBezTo>
                    <a:cubicBezTo>
                      <a:pt x="93" y="12"/>
                      <a:pt x="96" y="9"/>
                      <a:pt x="96" y="6"/>
                    </a:cubicBezTo>
                    <a:cubicBezTo>
                      <a:pt x="96" y="3"/>
                      <a:pt x="93" y="0"/>
                      <a:pt x="90" y="0"/>
                    </a:cubicBezTo>
                    <a:close/>
                    <a:moveTo>
                      <a:pt x="40" y="37"/>
                    </a:moveTo>
                    <a:cubicBezTo>
                      <a:pt x="39" y="38"/>
                      <a:pt x="38" y="38"/>
                      <a:pt x="37" y="38"/>
                    </a:cubicBezTo>
                    <a:cubicBezTo>
                      <a:pt x="30" y="35"/>
                      <a:pt x="25" y="30"/>
                      <a:pt x="22" y="23"/>
                    </a:cubicBezTo>
                    <a:cubicBezTo>
                      <a:pt x="22" y="22"/>
                      <a:pt x="22" y="21"/>
                      <a:pt x="23" y="20"/>
                    </a:cubicBezTo>
                    <a:cubicBezTo>
                      <a:pt x="24" y="20"/>
                      <a:pt x="25" y="20"/>
                      <a:pt x="26" y="21"/>
                    </a:cubicBezTo>
                    <a:cubicBezTo>
                      <a:pt x="28" y="27"/>
                      <a:pt x="33" y="32"/>
                      <a:pt x="39" y="34"/>
                    </a:cubicBezTo>
                    <a:cubicBezTo>
                      <a:pt x="40" y="35"/>
                      <a:pt x="40" y="36"/>
                      <a:pt x="4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93">
                <a:extLst>
                  <a:ext uri="{FF2B5EF4-FFF2-40B4-BE49-F238E27FC236}">
                    <a16:creationId xmlns="" xmlns:a16="http://schemas.microsoft.com/office/drawing/2014/main" id="{6B71612A-D77F-D546-A33A-3D53B9F7202B}"/>
                  </a:ext>
                </a:extLst>
              </p:cNvPr>
              <p:cNvSpPr>
                <a:spLocks/>
              </p:cNvSpPr>
              <p:nvPr/>
            </p:nvSpPr>
            <p:spPr bwMode="auto">
              <a:xfrm>
                <a:off x="4321175" y="3279775"/>
                <a:ext cx="142875" cy="117475"/>
              </a:xfrm>
              <a:custGeom>
                <a:avLst/>
                <a:gdLst>
                  <a:gd name="T0" fmla="*/ 2 w 38"/>
                  <a:gd name="T1" fmla="*/ 31 h 31"/>
                  <a:gd name="T2" fmla="*/ 18 w 38"/>
                  <a:gd name="T3" fmla="*/ 31 h 31"/>
                  <a:gd name="T4" fmla="*/ 20 w 38"/>
                  <a:gd name="T5" fmla="*/ 30 h 31"/>
                  <a:gd name="T6" fmla="*/ 33 w 38"/>
                  <a:gd name="T7" fmla="*/ 1 h 31"/>
                  <a:gd name="T8" fmla="*/ 30 w 38"/>
                  <a:gd name="T9" fmla="*/ 0 h 31"/>
                  <a:gd name="T10" fmla="*/ 1 w 38"/>
                  <a:gd name="T11" fmla="*/ 28 h 31"/>
                  <a:gd name="T12" fmla="*/ 0 w 38"/>
                  <a:gd name="T13" fmla="*/ 30 h 31"/>
                  <a:gd name="T14" fmla="*/ 2 w 38"/>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1">
                    <a:moveTo>
                      <a:pt x="2" y="31"/>
                    </a:moveTo>
                    <a:cubicBezTo>
                      <a:pt x="18" y="31"/>
                      <a:pt x="18" y="31"/>
                      <a:pt x="18" y="31"/>
                    </a:cubicBezTo>
                    <a:cubicBezTo>
                      <a:pt x="19" y="31"/>
                      <a:pt x="19" y="31"/>
                      <a:pt x="20" y="30"/>
                    </a:cubicBezTo>
                    <a:cubicBezTo>
                      <a:pt x="36" y="7"/>
                      <a:pt x="38" y="5"/>
                      <a:pt x="33" y="1"/>
                    </a:cubicBezTo>
                    <a:cubicBezTo>
                      <a:pt x="32" y="1"/>
                      <a:pt x="31" y="0"/>
                      <a:pt x="30" y="0"/>
                    </a:cubicBezTo>
                    <a:cubicBezTo>
                      <a:pt x="26" y="0"/>
                      <a:pt x="23" y="4"/>
                      <a:pt x="1" y="28"/>
                    </a:cubicBezTo>
                    <a:cubicBezTo>
                      <a:pt x="0" y="28"/>
                      <a:pt x="0" y="29"/>
                      <a:pt x="0" y="30"/>
                    </a:cubicBezTo>
                    <a:cubicBezTo>
                      <a:pt x="0" y="31"/>
                      <a:pt x="1"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36" name="Group 135">
            <a:extLst>
              <a:ext uri="{FF2B5EF4-FFF2-40B4-BE49-F238E27FC236}">
                <a16:creationId xmlns="" xmlns:a16="http://schemas.microsoft.com/office/drawing/2014/main" id="{AF5AE143-C627-5B4D-9D8D-2E9225F70685}"/>
              </a:ext>
            </a:extLst>
          </p:cNvPr>
          <p:cNvGrpSpPr/>
          <p:nvPr/>
        </p:nvGrpSpPr>
        <p:grpSpPr>
          <a:xfrm>
            <a:off x="7355533" y="2460683"/>
            <a:ext cx="1983418" cy="1793497"/>
            <a:chOff x="6203155" y="2354581"/>
            <a:chExt cx="2430566" cy="3490041"/>
          </a:xfrm>
        </p:grpSpPr>
        <p:sp>
          <p:nvSpPr>
            <p:cNvPr id="41" name="Freeform 373">
              <a:extLst>
                <a:ext uri="{FF2B5EF4-FFF2-40B4-BE49-F238E27FC236}">
                  <a16:creationId xmlns="" xmlns:a16="http://schemas.microsoft.com/office/drawing/2014/main" id="{32E3CB99-ACEF-034E-912A-8C52EFB06C35}"/>
                </a:ext>
              </a:extLst>
            </p:cNvPr>
            <p:cNvSpPr>
              <a:spLocks/>
            </p:cNvSpPr>
            <p:nvPr/>
          </p:nvSpPr>
          <p:spPr bwMode="auto">
            <a:xfrm>
              <a:off x="6203155" y="2354581"/>
              <a:ext cx="2430566" cy="3490041"/>
            </a:xfrm>
            <a:custGeom>
              <a:avLst/>
              <a:gdLst>
                <a:gd name="T0" fmla="*/ 175 w 351"/>
                <a:gd name="T1" fmla="*/ 0 h 504"/>
                <a:gd name="T2" fmla="*/ 228 w 351"/>
                <a:gd name="T3" fmla="*/ 52 h 504"/>
                <a:gd name="T4" fmla="*/ 300 w 351"/>
                <a:gd name="T5" fmla="*/ 52 h 504"/>
                <a:gd name="T6" fmla="*/ 315 w 351"/>
                <a:gd name="T7" fmla="*/ 55 h 504"/>
                <a:gd name="T8" fmla="*/ 330 w 351"/>
                <a:gd name="T9" fmla="*/ 61 h 504"/>
                <a:gd name="T10" fmla="*/ 340 w 351"/>
                <a:gd name="T11" fmla="*/ 73 h 504"/>
                <a:gd name="T12" fmla="*/ 348 w 351"/>
                <a:gd name="T13" fmla="*/ 86 h 504"/>
                <a:gd name="T14" fmla="*/ 351 w 351"/>
                <a:gd name="T15" fmla="*/ 103 h 504"/>
                <a:gd name="T16" fmla="*/ 351 w 351"/>
                <a:gd name="T17" fmla="*/ 453 h 504"/>
                <a:gd name="T18" fmla="*/ 348 w 351"/>
                <a:gd name="T19" fmla="*/ 470 h 504"/>
                <a:gd name="T20" fmla="*/ 340 w 351"/>
                <a:gd name="T21" fmla="*/ 483 h 504"/>
                <a:gd name="T22" fmla="*/ 330 w 351"/>
                <a:gd name="T23" fmla="*/ 495 h 504"/>
                <a:gd name="T24" fmla="*/ 315 w 351"/>
                <a:gd name="T25" fmla="*/ 501 h 504"/>
                <a:gd name="T26" fmla="*/ 300 w 351"/>
                <a:gd name="T27" fmla="*/ 504 h 504"/>
                <a:gd name="T28" fmla="*/ 51 w 351"/>
                <a:gd name="T29" fmla="*/ 504 h 504"/>
                <a:gd name="T30" fmla="*/ 35 w 351"/>
                <a:gd name="T31" fmla="*/ 501 h 504"/>
                <a:gd name="T32" fmla="*/ 21 w 351"/>
                <a:gd name="T33" fmla="*/ 495 h 504"/>
                <a:gd name="T34" fmla="*/ 10 w 351"/>
                <a:gd name="T35" fmla="*/ 483 h 504"/>
                <a:gd name="T36" fmla="*/ 2 w 351"/>
                <a:gd name="T37" fmla="*/ 470 h 504"/>
                <a:gd name="T38" fmla="*/ 0 w 351"/>
                <a:gd name="T39" fmla="*/ 453 h 504"/>
                <a:gd name="T40" fmla="*/ 0 w 351"/>
                <a:gd name="T41" fmla="*/ 103 h 504"/>
                <a:gd name="T42" fmla="*/ 2 w 351"/>
                <a:gd name="T43" fmla="*/ 86 h 504"/>
                <a:gd name="T44" fmla="*/ 10 w 351"/>
                <a:gd name="T45" fmla="*/ 73 h 504"/>
                <a:gd name="T46" fmla="*/ 21 w 351"/>
                <a:gd name="T47" fmla="*/ 61 h 504"/>
                <a:gd name="T48" fmla="*/ 35 w 351"/>
                <a:gd name="T49" fmla="*/ 55 h 504"/>
                <a:gd name="T50" fmla="*/ 51 w 351"/>
                <a:gd name="T51" fmla="*/ 52 h 504"/>
                <a:gd name="T52" fmla="*/ 123 w 351"/>
                <a:gd name="T53" fmla="*/ 52 h 504"/>
                <a:gd name="T54" fmla="*/ 175 w 351"/>
                <a:gd name="T5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1" h="504">
                  <a:moveTo>
                    <a:pt x="175" y="0"/>
                  </a:moveTo>
                  <a:lnTo>
                    <a:pt x="228" y="52"/>
                  </a:lnTo>
                  <a:lnTo>
                    <a:pt x="300" y="52"/>
                  </a:lnTo>
                  <a:lnTo>
                    <a:pt x="315" y="55"/>
                  </a:lnTo>
                  <a:lnTo>
                    <a:pt x="330" y="61"/>
                  </a:lnTo>
                  <a:lnTo>
                    <a:pt x="340" y="73"/>
                  </a:lnTo>
                  <a:lnTo>
                    <a:pt x="348" y="86"/>
                  </a:lnTo>
                  <a:lnTo>
                    <a:pt x="351" y="103"/>
                  </a:lnTo>
                  <a:lnTo>
                    <a:pt x="351" y="453"/>
                  </a:lnTo>
                  <a:lnTo>
                    <a:pt x="348" y="470"/>
                  </a:lnTo>
                  <a:lnTo>
                    <a:pt x="340" y="483"/>
                  </a:lnTo>
                  <a:lnTo>
                    <a:pt x="330" y="495"/>
                  </a:lnTo>
                  <a:lnTo>
                    <a:pt x="315" y="501"/>
                  </a:lnTo>
                  <a:lnTo>
                    <a:pt x="300" y="504"/>
                  </a:lnTo>
                  <a:lnTo>
                    <a:pt x="51" y="504"/>
                  </a:lnTo>
                  <a:lnTo>
                    <a:pt x="35" y="501"/>
                  </a:lnTo>
                  <a:lnTo>
                    <a:pt x="21" y="495"/>
                  </a:lnTo>
                  <a:lnTo>
                    <a:pt x="10" y="483"/>
                  </a:lnTo>
                  <a:lnTo>
                    <a:pt x="2" y="470"/>
                  </a:lnTo>
                  <a:lnTo>
                    <a:pt x="0" y="453"/>
                  </a:lnTo>
                  <a:lnTo>
                    <a:pt x="0" y="103"/>
                  </a:lnTo>
                  <a:lnTo>
                    <a:pt x="2" y="86"/>
                  </a:lnTo>
                  <a:lnTo>
                    <a:pt x="10" y="73"/>
                  </a:lnTo>
                  <a:lnTo>
                    <a:pt x="21" y="61"/>
                  </a:lnTo>
                  <a:lnTo>
                    <a:pt x="35" y="55"/>
                  </a:lnTo>
                  <a:lnTo>
                    <a:pt x="51" y="52"/>
                  </a:lnTo>
                  <a:lnTo>
                    <a:pt x="123" y="52"/>
                  </a:lnTo>
                  <a:lnTo>
                    <a:pt x="175" y="0"/>
                  </a:lnTo>
                  <a:close/>
                </a:path>
              </a:pathLst>
            </a:custGeom>
            <a:solidFill>
              <a:srgbClr val="3E8853"/>
            </a:solidFill>
            <a:ln w="0">
              <a:solidFill>
                <a:srgbClr val="3E885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TextBox 41">
              <a:extLst>
                <a:ext uri="{FF2B5EF4-FFF2-40B4-BE49-F238E27FC236}">
                  <a16:creationId xmlns="" xmlns:a16="http://schemas.microsoft.com/office/drawing/2014/main" id="{D180F045-586C-FC49-A696-34751A72F32E}"/>
                </a:ext>
              </a:extLst>
            </p:cNvPr>
            <p:cNvSpPr txBox="1"/>
            <p:nvPr/>
          </p:nvSpPr>
          <p:spPr>
            <a:xfrm>
              <a:off x="6331864" y="3836308"/>
              <a:ext cx="2154912" cy="584775"/>
            </a:xfrm>
            <a:prstGeom prst="rect">
              <a:avLst/>
            </a:prstGeom>
            <a:noFill/>
          </p:spPr>
          <p:txBody>
            <a:bodyPr wrap="square" rtlCol="0">
              <a:spAutoFit/>
            </a:bodyPr>
            <a:lstStyle/>
            <a:p>
              <a:pPr algn="ctr"/>
              <a:r>
                <a:rPr lang="en-US" sz="1600" b="1" dirty="0">
                  <a:solidFill>
                    <a:prstClr val="white"/>
                  </a:solidFill>
                  <a:latin typeface="Segoe UI" panose="020B0502040204020203" pitchFamily="34" charset="0"/>
                  <a:ea typeface="Open Sans" panose="020B0606030504020204" pitchFamily="34" charset="0"/>
                  <a:cs typeface="Segoe UI" panose="020B0502040204020203" pitchFamily="34" charset="0"/>
                </a:rPr>
                <a:t>FINDINGS AND INSIGHTS</a:t>
              </a:r>
            </a:p>
          </p:txBody>
        </p:sp>
        <p:grpSp>
          <p:nvGrpSpPr>
            <p:cNvPr id="99" name="Group 98">
              <a:extLst>
                <a:ext uri="{FF2B5EF4-FFF2-40B4-BE49-F238E27FC236}">
                  <a16:creationId xmlns="" xmlns:a16="http://schemas.microsoft.com/office/drawing/2014/main" id="{F0A9A751-6127-3944-986C-F40146092C15}"/>
                </a:ext>
              </a:extLst>
            </p:cNvPr>
            <p:cNvGrpSpPr/>
            <p:nvPr/>
          </p:nvGrpSpPr>
          <p:grpSpPr>
            <a:xfrm>
              <a:off x="7099235" y="3046747"/>
              <a:ext cx="638405" cy="613093"/>
              <a:chOff x="8445500" y="1847850"/>
              <a:chExt cx="360363" cy="346075"/>
            </a:xfrm>
            <a:solidFill>
              <a:schemeClr val="bg1"/>
            </a:solidFill>
          </p:grpSpPr>
          <p:sp>
            <p:nvSpPr>
              <p:cNvPr id="100" name="Freeform 99">
                <a:extLst>
                  <a:ext uri="{FF2B5EF4-FFF2-40B4-BE49-F238E27FC236}">
                    <a16:creationId xmlns="" xmlns:a16="http://schemas.microsoft.com/office/drawing/2014/main" id="{4B496CBB-0EA9-EA46-BEA3-EE11E97FA609}"/>
                  </a:ext>
                </a:extLst>
              </p:cNvPr>
              <p:cNvSpPr>
                <a:spLocks/>
              </p:cNvSpPr>
              <p:nvPr/>
            </p:nvSpPr>
            <p:spPr bwMode="auto">
              <a:xfrm>
                <a:off x="8501063" y="2054225"/>
                <a:ext cx="241300" cy="139700"/>
              </a:xfrm>
              <a:custGeom>
                <a:avLst/>
                <a:gdLst>
                  <a:gd name="T0" fmla="*/ 48 w 64"/>
                  <a:gd name="T1" fmla="*/ 14 h 37"/>
                  <a:gd name="T2" fmla="*/ 43 w 64"/>
                  <a:gd name="T3" fmla="*/ 17 h 37"/>
                  <a:gd name="T4" fmla="*/ 37 w 64"/>
                  <a:gd name="T5" fmla="*/ 13 h 37"/>
                  <a:gd name="T6" fmla="*/ 33 w 64"/>
                  <a:gd name="T7" fmla="*/ 0 h 37"/>
                  <a:gd name="T8" fmla="*/ 30 w 64"/>
                  <a:gd name="T9" fmla="*/ 6 h 37"/>
                  <a:gd name="T10" fmla="*/ 25 w 64"/>
                  <a:gd name="T11" fmla="*/ 9 h 37"/>
                  <a:gd name="T12" fmla="*/ 20 w 64"/>
                  <a:gd name="T13" fmla="*/ 6 h 37"/>
                  <a:gd name="T14" fmla="*/ 17 w 64"/>
                  <a:gd name="T15" fmla="*/ 1 h 37"/>
                  <a:gd name="T16" fmla="*/ 16 w 64"/>
                  <a:gd name="T17" fmla="*/ 3 h 37"/>
                  <a:gd name="T18" fmla="*/ 11 w 64"/>
                  <a:gd name="T19" fmla="*/ 5 h 37"/>
                  <a:gd name="T20" fmla="*/ 0 w 64"/>
                  <a:gd name="T21" fmla="*/ 5 h 37"/>
                  <a:gd name="T22" fmla="*/ 32 w 64"/>
                  <a:gd name="T23" fmla="*/ 36 h 37"/>
                  <a:gd name="T24" fmla="*/ 33 w 64"/>
                  <a:gd name="T25" fmla="*/ 37 h 37"/>
                  <a:gd name="T26" fmla="*/ 34 w 64"/>
                  <a:gd name="T27" fmla="*/ 36 h 37"/>
                  <a:gd name="T28" fmla="*/ 64 w 64"/>
                  <a:gd name="T29" fmla="*/ 5 h 37"/>
                  <a:gd name="T30" fmla="*/ 53 w 64"/>
                  <a:gd name="T31" fmla="*/ 5 h 37"/>
                  <a:gd name="T32" fmla="*/ 48 w 64"/>
                  <a:gd name="T33"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37">
                    <a:moveTo>
                      <a:pt x="48" y="14"/>
                    </a:moveTo>
                    <a:cubicBezTo>
                      <a:pt x="47" y="16"/>
                      <a:pt x="45" y="17"/>
                      <a:pt x="43" y="17"/>
                    </a:cubicBezTo>
                    <a:cubicBezTo>
                      <a:pt x="40" y="17"/>
                      <a:pt x="38" y="15"/>
                      <a:pt x="37" y="13"/>
                    </a:cubicBezTo>
                    <a:cubicBezTo>
                      <a:pt x="33" y="0"/>
                      <a:pt x="33" y="0"/>
                      <a:pt x="33" y="0"/>
                    </a:cubicBezTo>
                    <a:cubicBezTo>
                      <a:pt x="30" y="6"/>
                      <a:pt x="30" y="6"/>
                      <a:pt x="30" y="6"/>
                    </a:cubicBezTo>
                    <a:cubicBezTo>
                      <a:pt x="29" y="8"/>
                      <a:pt x="28" y="9"/>
                      <a:pt x="25" y="9"/>
                    </a:cubicBezTo>
                    <a:cubicBezTo>
                      <a:pt x="23" y="9"/>
                      <a:pt x="21" y="8"/>
                      <a:pt x="20" y="6"/>
                    </a:cubicBezTo>
                    <a:cubicBezTo>
                      <a:pt x="17" y="1"/>
                      <a:pt x="17" y="1"/>
                      <a:pt x="17" y="1"/>
                    </a:cubicBezTo>
                    <a:cubicBezTo>
                      <a:pt x="16" y="3"/>
                      <a:pt x="16" y="3"/>
                      <a:pt x="16" y="3"/>
                    </a:cubicBezTo>
                    <a:cubicBezTo>
                      <a:pt x="15" y="4"/>
                      <a:pt x="13" y="5"/>
                      <a:pt x="11" y="5"/>
                    </a:cubicBezTo>
                    <a:cubicBezTo>
                      <a:pt x="0" y="5"/>
                      <a:pt x="0" y="5"/>
                      <a:pt x="0" y="5"/>
                    </a:cubicBezTo>
                    <a:cubicBezTo>
                      <a:pt x="7" y="16"/>
                      <a:pt x="22" y="30"/>
                      <a:pt x="32" y="36"/>
                    </a:cubicBezTo>
                    <a:cubicBezTo>
                      <a:pt x="32" y="36"/>
                      <a:pt x="33" y="37"/>
                      <a:pt x="33" y="37"/>
                    </a:cubicBezTo>
                    <a:cubicBezTo>
                      <a:pt x="33" y="37"/>
                      <a:pt x="34" y="36"/>
                      <a:pt x="34" y="36"/>
                    </a:cubicBezTo>
                    <a:cubicBezTo>
                      <a:pt x="43" y="29"/>
                      <a:pt x="57" y="15"/>
                      <a:pt x="64" y="5"/>
                    </a:cubicBezTo>
                    <a:cubicBezTo>
                      <a:pt x="53" y="5"/>
                      <a:pt x="53" y="5"/>
                      <a:pt x="53" y="5"/>
                    </a:cubicBezTo>
                    <a:lnTo>
                      <a:pt x="4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100">
                <a:extLst>
                  <a:ext uri="{FF2B5EF4-FFF2-40B4-BE49-F238E27FC236}">
                    <a16:creationId xmlns="" xmlns:a16="http://schemas.microsoft.com/office/drawing/2014/main" id="{051D117B-5D11-354F-937B-468A2B417BE1}"/>
                  </a:ext>
                </a:extLst>
              </p:cNvPr>
              <p:cNvSpPr>
                <a:spLocks/>
              </p:cNvSpPr>
              <p:nvPr/>
            </p:nvSpPr>
            <p:spPr bwMode="auto">
              <a:xfrm>
                <a:off x="8459788" y="1847850"/>
                <a:ext cx="330200" cy="187325"/>
              </a:xfrm>
              <a:custGeom>
                <a:avLst/>
                <a:gdLst>
                  <a:gd name="T0" fmla="*/ 4 w 88"/>
                  <a:gd name="T1" fmla="*/ 48 h 50"/>
                  <a:gd name="T2" fmla="*/ 19 w 88"/>
                  <a:gd name="T3" fmla="*/ 48 h 50"/>
                  <a:gd name="T4" fmla="*/ 23 w 88"/>
                  <a:gd name="T5" fmla="*/ 42 h 50"/>
                  <a:gd name="T6" fmla="*/ 28 w 88"/>
                  <a:gd name="T7" fmla="*/ 40 h 50"/>
                  <a:gd name="T8" fmla="*/ 33 w 88"/>
                  <a:gd name="T9" fmla="*/ 43 h 50"/>
                  <a:gd name="T10" fmla="*/ 35 w 88"/>
                  <a:gd name="T11" fmla="*/ 46 h 50"/>
                  <a:gd name="T12" fmla="*/ 41 w 88"/>
                  <a:gd name="T13" fmla="*/ 35 h 50"/>
                  <a:gd name="T14" fmla="*/ 46 w 88"/>
                  <a:gd name="T15" fmla="*/ 32 h 50"/>
                  <a:gd name="T16" fmla="*/ 52 w 88"/>
                  <a:gd name="T17" fmla="*/ 36 h 50"/>
                  <a:gd name="T18" fmla="*/ 56 w 88"/>
                  <a:gd name="T19" fmla="*/ 50 h 50"/>
                  <a:gd name="T20" fmla="*/ 60 w 88"/>
                  <a:gd name="T21" fmla="*/ 48 h 50"/>
                  <a:gd name="T22" fmla="*/ 82 w 88"/>
                  <a:gd name="T23" fmla="*/ 48 h 50"/>
                  <a:gd name="T24" fmla="*/ 88 w 88"/>
                  <a:gd name="T25" fmla="*/ 26 h 50"/>
                  <a:gd name="T26" fmla="*/ 66 w 88"/>
                  <a:gd name="T27" fmla="*/ 0 h 50"/>
                  <a:gd name="T28" fmla="*/ 44 w 88"/>
                  <a:gd name="T29" fmla="*/ 16 h 50"/>
                  <a:gd name="T30" fmla="*/ 23 w 88"/>
                  <a:gd name="T31" fmla="*/ 0 h 50"/>
                  <a:gd name="T32" fmla="*/ 0 w 88"/>
                  <a:gd name="T33" fmla="*/ 29 h 50"/>
                  <a:gd name="T34" fmla="*/ 4 w 88"/>
                  <a:gd name="T35"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0">
                    <a:moveTo>
                      <a:pt x="4" y="48"/>
                    </a:moveTo>
                    <a:cubicBezTo>
                      <a:pt x="19" y="48"/>
                      <a:pt x="19" y="48"/>
                      <a:pt x="19" y="48"/>
                    </a:cubicBezTo>
                    <a:cubicBezTo>
                      <a:pt x="23" y="42"/>
                      <a:pt x="23" y="42"/>
                      <a:pt x="23" y="42"/>
                    </a:cubicBezTo>
                    <a:cubicBezTo>
                      <a:pt x="24" y="41"/>
                      <a:pt x="26" y="40"/>
                      <a:pt x="28" y="40"/>
                    </a:cubicBezTo>
                    <a:cubicBezTo>
                      <a:pt x="30" y="40"/>
                      <a:pt x="32" y="41"/>
                      <a:pt x="33" y="43"/>
                    </a:cubicBezTo>
                    <a:cubicBezTo>
                      <a:pt x="35" y="46"/>
                      <a:pt x="35" y="46"/>
                      <a:pt x="35" y="46"/>
                    </a:cubicBezTo>
                    <a:cubicBezTo>
                      <a:pt x="41" y="35"/>
                      <a:pt x="41" y="35"/>
                      <a:pt x="41" y="35"/>
                    </a:cubicBezTo>
                    <a:cubicBezTo>
                      <a:pt x="42" y="33"/>
                      <a:pt x="44" y="32"/>
                      <a:pt x="46" y="32"/>
                    </a:cubicBezTo>
                    <a:cubicBezTo>
                      <a:pt x="49" y="32"/>
                      <a:pt x="51" y="34"/>
                      <a:pt x="52" y="36"/>
                    </a:cubicBezTo>
                    <a:cubicBezTo>
                      <a:pt x="56" y="50"/>
                      <a:pt x="56" y="50"/>
                      <a:pt x="56" y="50"/>
                    </a:cubicBezTo>
                    <a:cubicBezTo>
                      <a:pt x="57" y="49"/>
                      <a:pt x="58" y="48"/>
                      <a:pt x="60" y="48"/>
                    </a:cubicBezTo>
                    <a:cubicBezTo>
                      <a:pt x="82" y="48"/>
                      <a:pt x="82" y="48"/>
                      <a:pt x="82" y="48"/>
                    </a:cubicBezTo>
                    <a:cubicBezTo>
                      <a:pt x="85" y="43"/>
                      <a:pt x="88" y="34"/>
                      <a:pt x="88" y="26"/>
                    </a:cubicBezTo>
                    <a:cubicBezTo>
                      <a:pt x="88" y="9"/>
                      <a:pt x="77" y="0"/>
                      <a:pt x="66" y="0"/>
                    </a:cubicBezTo>
                    <a:cubicBezTo>
                      <a:pt x="57" y="0"/>
                      <a:pt x="48" y="5"/>
                      <a:pt x="44" y="16"/>
                    </a:cubicBezTo>
                    <a:cubicBezTo>
                      <a:pt x="40" y="5"/>
                      <a:pt x="31" y="0"/>
                      <a:pt x="23" y="0"/>
                    </a:cubicBezTo>
                    <a:cubicBezTo>
                      <a:pt x="8" y="0"/>
                      <a:pt x="0" y="15"/>
                      <a:pt x="0" y="29"/>
                    </a:cubicBezTo>
                    <a:cubicBezTo>
                      <a:pt x="0" y="36"/>
                      <a:pt x="2" y="44"/>
                      <a:pt x="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101">
                <a:extLst>
                  <a:ext uri="{FF2B5EF4-FFF2-40B4-BE49-F238E27FC236}">
                    <a16:creationId xmlns="" xmlns:a16="http://schemas.microsoft.com/office/drawing/2014/main" id="{C5625B0D-A7B8-E143-930A-3707D98377A8}"/>
                  </a:ext>
                </a:extLst>
              </p:cNvPr>
              <p:cNvSpPr>
                <a:spLocks/>
              </p:cNvSpPr>
              <p:nvPr/>
            </p:nvSpPr>
            <p:spPr bwMode="auto">
              <a:xfrm>
                <a:off x="8445500" y="1982788"/>
                <a:ext cx="360363" cy="120650"/>
              </a:xfrm>
              <a:custGeom>
                <a:avLst/>
                <a:gdLst>
                  <a:gd name="T0" fmla="*/ 94 w 96"/>
                  <a:gd name="T1" fmla="*/ 16 h 32"/>
                  <a:gd name="T2" fmla="*/ 64 w 96"/>
                  <a:gd name="T3" fmla="*/ 16 h 32"/>
                  <a:gd name="T4" fmla="*/ 62 w 96"/>
                  <a:gd name="T5" fmla="*/ 17 h 32"/>
                  <a:gd name="T6" fmla="*/ 59 w 96"/>
                  <a:gd name="T7" fmla="*/ 25 h 32"/>
                  <a:gd name="T8" fmla="*/ 52 w 96"/>
                  <a:gd name="T9" fmla="*/ 1 h 32"/>
                  <a:gd name="T10" fmla="*/ 50 w 96"/>
                  <a:gd name="T11" fmla="*/ 0 h 32"/>
                  <a:gd name="T12" fmla="*/ 48 w 96"/>
                  <a:gd name="T13" fmla="*/ 1 h 32"/>
                  <a:gd name="T14" fmla="*/ 40 w 96"/>
                  <a:gd name="T15" fmla="*/ 18 h 32"/>
                  <a:gd name="T16" fmla="*/ 34 w 96"/>
                  <a:gd name="T17" fmla="*/ 9 h 32"/>
                  <a:gd name="T18" fmla="*/ 32 w 96"/>
                  <a:gd name="T19" fmla="*/ 8 h 32"/>
                  <a:gd name="T20" fmla="*/ 30 w 96"/>
                  <a:gd name="T21" fmla="*/ 9 h 32"/>
                  <a:gd name="T22" fmla="*/ 25 w 96"/>
                  <a:gd name="T23" fmla="*/ 16 h 32"/>
                  <a:gd name="T24" fmla="*/ 2 w 96"/>
                  <a:gd name="T25" fmla="*/ 16 h 32"/>
                  <a:gd name="T26" fmla="*/ 0 w 96"/>
                  <a:gd name="T27" fmla="*/ 18 h 32"/>
                  <a:gd name="T28" fmla="*/ 2 w 96"/>
                  <a:gd name="T29" fmla="*/ 20 h 32"/>
                  <a:gd name="T30" fmla="*/ 26 w 96"/>
                  <a:gd name="T31" fmla="*/ 20 h 32"/>
                  <a:gd name="T32" fmla="*/ 28 w 96"/>
                  <a:gd name="T33" fmla="*/ 19 h 32"/>
                  <a:gd name="T34" fmla="*/ 32 w 96"/>
                  <a:gd name="T35" fmla="*/ 13 h 32"/>
                  <a:gd name="T36" fmla="*/ 38 w 96"/>
                  <a:gd name="T37" fmla="*/ 23 h 32"/>
                  <a:gd name="T38" fmla="*/ 40 w 96"/>
                  <a:gd name="T39" fmla="*/ 24 h 32"/>
                  <a:gd name="T40" fmla="*/ 42 w 96"/>
                  <a:gd name="T41" fmla="*/ 23 h 32"/>
                  <a:gd name="T42" fmla="*/ 49 w 96"/>
                  <a:gd name="T43" fmla="*/ 8 h 32"/>
                  <a:gd name="T44" fmla="*/ 56 w 96"/>
                  <a:gd name="T45" fmla="*/ 31 h 32"/>
                  <a:gd name="T46" fmla="*/ 58 w 96"/>
                  <a:gd name="T47" fmla="*/ 32 h 32"/>
                  <a:gd name="T48" fmla="*/ 60 w 96"/>
                  <a:gd name="T49" fmla="*/ 31 h 32"/>
                  <a:gd name="T50" fmla="*/ 65 w 96"/>
                  <a:gd name="T51" fmla="*/ 20 h 32"/>
                  <a:gd name="T52" fmla="*/ 94 w 96"/>
                  <a:gd name="T53" fmla="*/ 20 h 32"/>
                  <a:gd name="T54" fmla="*/ 96 w 96"/>
                  <a:gd name="T55" fmla="*/ 18 h 32"/>
                  <a:gd name="T56" fmla="*/ 94 w 96"/>
                  <a:gd name="T5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32">
                    <a:moveTo>
                      <a:pt x="94" y="16"/>
                    </a:moveTo>
                    <a:cubicBezTo>
                      <a:pt x="64" y="16"/>
                      <a:pt x="64" y="16"/>
                      <a:pt x="64" y="16"/>
                    </a:cubicBezTo>
                    <a:cubicBezTo>
                      <a:pt x="63" y="16"/>
                      <a:pt x="63" y="16"/>
                      <a:pt x="62" y="17"/>
                    </a:cubicBezTo>
                    <a:cubicBezTo>
                      <a:pt x="59" y="25"/>
                      <a:pt x="59" y="25"/>
                      <a:pt x="59" y="25"/>
                    </a:cubicBezTo>
                    <a:cubicBezTo>
                      <a:pt x="52" y="1"/>
                      <a:pt x="52" y="1"/>
                      <a:pt x="52" y="1"/>
                    </a:cubicBezTo>
                    <a:cubicBezTo>
                      <a:pt x="52" y="1"/>
                      <a:pt x="51" y="0"/>
                      <a:pt x="50" y="0"/>
                    </a:cubicBezTo>
                    <a:cubicBezTo>
                      <a:pt x="49" y="0"/>
                      <a:pt x="49" y="0"/>
                      <a:pt x="48" y="1"/>
                    </a:cubicBezTo>
                    <a:cubicBezTo>
                      <a:pt x="40" y="18"/>
                      <a:pt x="40" y="18"/>
                      <a:pt x="40" y="18"/>
                    </a:cubicBezTo>
                    <a:cubicBezTo>
                      <a:pt x="34" y="9"/>
                      <a:pt x="34" y="9"/>
                      <a:pt x="34" y="9"/>
                    </a:cubicBezTo>
                    <a:cubicBezTo>
                      <a:pt x="33" y="8"/>
                      <a:pt x="33" y="8"/>
                      <a:pt x="32" y="8"/>
                    </a:cubicBezTo>
                    <a:cubicBezTo>
                      <a:pt x="31" y="8"/>
                      <a:pt x="31" y="8"/>
                      <a:pt x="30" y="9"/>
                    </a:cubicBezTo>
                    <a:cubicBezTo>
                      <a:pt x="25" y="16"/>
                      <a:pt x="25" y="16"/>
                      <a:pt x="25" y="16"/>
                    </a:cubicBezTo>
                    <a:cubicBezTo>
                      <a:pt x="2" y="16"/>
                      <a:pt x="2" y="16"/>
                      <a:pt x="2" y="16"/>
                    </a:cubicBezTo>
                    <a:cubicBezTo>
                      <a:pt x="1" y="16"/>
                      <a:pt x="0" y="17"/>
                      <a:pt x="0" y="18"/>
                    </a:cubicBezTo>
                    <a:cubicBezTo>
                      <a:pt x="0" y="19"/>
                      <a:pt x="1" y="20"/>
                      <a:pt x="2" y="20"/>
                    </a:cubicBezTo>
                    <a:cubicBezTo>
                      <a:pt x="26" y="20"/>
                      <a:pt x="26" y="20"/>
                      <a:pt x="26" y="20"/>
                    </a:cubicBezTo>
                    <a:cubicBezTo>
                      <a:pt x="27" y="20"/>
                      <a:pt x="27" y="20"/>
                      <a:pt x="28" y="19"/>
                    </a:cubicBezTo>
                    <a:cubicBezTo>
                      <a:pt x="32" y="13"/>
                      <a:pt x="32" y="13"/>
                      <a:pt x="32" y="13"/>
                    </a:cubicBezTo>
                    <a:cubicBezTo>
                      <a:pt x="38" y="23"/>
                      <a:pt x="38" y="23"/>
                      <a:pt x="38" y="23"/>
                    </a:cubicBezTo>
                    <a:cubicBezTo>
                      <a:pt x="39" y="24"/>
                      <a:pt x="39" y="24"/>
                      <a:pt x="40" y="24"/>
                    </a:cubicBezTo>
                    <a:cubicBezTo>
                      <a:pt x="41" y="24"/>
                      <a:pt x="41" y="24"/>
                      <a:pt x="42" y="23"/>
                    </a:cubicBezTo>
                    <a:cubicBezTo>
                      <a:pt x="49" y="8"/>
                      <a:pt x="49" y="8"/>
                      <a:pt x="49" y="8"/>
                    </a:cubicBezTo>
                    <a:cubicBezTo>
                      <a:pt x="56" y="31"/>
                      <a:pt x="56" y="31"/>
                      <a:pt x="56" y="31"/>
                    </a:cubicBezTo>
                    <a:cubicBezTo>
                      <a:pt x="56" y="31"/>
                      <a:pt x="57" y="32"/>
                      <a:pt x="58" y="32"/>
                    </a:cubicBezTo>
                    <a:cubicBezTo>
                      <a:pt x="59" y="32"/>
                      <a:pt x="59" y="32"/>
                      <a:pt x="60" y="31"/>
                    </a:cubicBezTo>
                    <a:cubicBezTo>
                      <a:pt x="65" y="20"/>
                      <a:pt x="65" y="20"/>
                      <a:pt x="65" y="20"/>
                    </a:cubicBezTo>
                    <a:cubicBezTo>
                      <a:pt x="94" y="20"/>
                      <a:pt x="94" y="20"/>
                      <a:pt x="94" y="20"/>
                    </a:cubicBezTo>
                    <a:cubicBezTo>
                      <a:pt x="95" y="20"/>
                      <a:pt x="96" y="19"/>
                      <a:pt x="96" y="18"/>
                    </a:cubicBezTo>
                    <a:cubicBezTo>
                      <a:pt x="96" y="17"/>
                      <a:pt x="95" y="16"/>
                      <a:pt x="9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35" name="Group 134">
            <a:extLst>
              <a:ext uri="{FF2B5EF4-FFF2-40B4-BE49-F238E27FC236}">
                <a16:creationId xmlns="" xmlns:a16="http://schemas.microsoft.com/office/drawing/2014/main" id="{7F279E1E-468E-D342-A7CD-DF91C124FAF3}"/>
              </a:ext>
            </a:extLst>
          </p:cNvPr>
          <p:cNvGrpSpPr/>
          <p:nvPr/>
        </p:nvGrpSpPr>
        <p:grpSpPr>
          <a:xfrm>
            <a:off x="9498495" y="2456510"/>
            <a:ext cx="1956085" cy="1793497"/>
            <a:chOff x="8882445" y="2354581"/>
            <a:chExt cx="2430566" cy="3490041"/>
          </a:xfrm>
        </p:grpSpPr>
        <p:sp>
          <p:nvSpPr>
            <p:cNvPr id="40" name="Freeform 373">
              <a:extLst>
                <a:ext uri="{FF2B5EF4-FFF2-40B4-BE49-F238E27FC236}">
                  <a16:creationId xmlns="" xmlns:a16="http://schemas.microsoft.com/office/drawing/2014/main" id="{4DEFD428-1074-254C-BA25-AF140B995983}"/>
                </a:ext>
              </a:extLst>
            </p:cNvPr>
            <p:cNvSpPr>
              <a:spLocks/>
            </p:cNvSpPr>
            <p:nvPr/>
          </p:nvSpPr>
          <p:spPr bwMode="auto">
            <a:xfrm>
              <a:off x="8882445" y="2354581"/>
              <a:ext cx="2430566" cy="3490041"/>
            </a:xfrm>
            <a:custGeom>
              <a:avLst/>
              <a:gdLst>
                <a:gd name="T0" fmla="*/ 175 w 351"/>
                <a:gd name="T1" fmla="*/ 0 h 504"/>
                <a:gd name="T2" fmla="*/ 228 w 351"/>
                <a:gd name="T3" fmla="*/ 52 h 504"/>
                <a:gd name="T4" fmla="*/ 300 w 351"/>
                <a:gd name="T5" fmla="*/ 52 h 504"/>
                <a:gd name="T6" fmla="*/ 315 w 351"/>
                <a:gd name="T7" fmla="*/ 55 h 504"/>
                <a:gd name="T8" fmla="*/ 330 w 351"/>
                <a:gd name="T9" fmla="*/ 61 h 504"/>
                <a:gd name="T10" fmla="*/ 340 w 351"/>
                <a:gd name="T11" fmla="*/ 73 h 504"/>
                <a:gd name="T12" fmla="*/ 348 w 351"/>
                <a:gd name="T13" fmla="*/ 86 h 504"/>
                <a:gd name="T14" fmla="*/ 351 w 351"/>
                <a:gd name="T15" fmla="*/ 103 h 504"/>
                <a:gd name="T16" fmla="*/ 351 w 351"/>
                <a:gd name="T17" fmla="*/ 453 h 504"/>
                <a:gd name="T18" fmla="*/ 348 w 351"/>
                <a:gd name="T19" fmla="*/ 470 h 504"/>
                <a:gd name="T20" fmla="*/ 340 w 351"/>
                <a:gd name="T21" fmla="*/ 483 h 504"/>
                <a:gd name="T22" fmla="*/ 330 w 351"/>
                <a:gd name="T23" fmla="*/ 495 h 504"/>
                <a:gd name="T24" fmla="*/ 315 w 351"/>
                <a:gd name="T25" fmla="*/ 501 h 504"/>
                <a:gd name="T26" fmla="*/ 300 w 351"/>
                <a:gd name="T27" fmla="*/ 504 h 504"/>
                <a:gd name="T28" fmla="*/ 51 w 351"/>
                <a:gd name="T29" fmla="*/ 504 h 504"/>
                <a:gd name="T30" fmla="*/ 35 w 351"/>
                <a:gd name="T31" fmla="*/ 501 h 504"/>
                <a:gd name="T32" fmla="*/ 21 w 351"/>
                <a:gd name="T33" fmla="*/ 495 h 504"/>
                <a:gd name="T34" fmla="*/ 10 w 351"/>
                <a:gd name="T35" fmla="*/ 483 h 504"/>
                <a:gd name="T36" fmla="*/ 2 w 351"/>
                <a:gd name="T37" fmla="*/ 470 h 504"/>
                <a:gd name="T38" fmla="*/ 0 w 351"/>
                <a:gd name="T39" fmla="*/ 453 h 504"/>
                <a:gd name="T40" fmla="*/ 0 w 351"/>
                <a:gd name="T41" fmla="*/ 103 h 504"/>
                <a:gd name="T42" fmla="*/ 2 w 351"/>
                <a:gd name="T43" fmla="*/ 86 h 504"/>
                <a:gd name="T44" fmla="*/ 10 w 351"/>
                <a:gd name="T45" fmla="*/ 73 h 504"/>
                <a:gd name="T46" fmla="*/ 21 w 351"/>
                <a:gd name="T47" fmla="*/ 61 h 504"/>
                <a:gd name="T48" fmla="*/ 35 w 351"/>
                <a:gd name="T49" fmla="*/ 55 h 504"/>
                <a:gd name="T50" fmla="*/ 51 w 351"/>
                <a:gd name="T51" fmla="*/ 52 h 504"/>
                <a:gd name="T52" fmla="*/ 123 w 351"/>
                <a:gd name="T53" fmla="*/ 52 h 504"/>
                <a:gd name="T54" fmla="*/ 175 w 351"/>
                <a:gd name="T5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1" h="504">
                  <a:moveTo>
                    <a:pt x="175" y="0"/>
                  </a:moveTo>
                  <a:lnTo>
                    <a:pt x="228" y="52"/>
                  </a:lnTo>
                  <a:lnTo>
                    <a:pt x="300" y="52"/>
                  </a:lnTo>
                  <a:lnTo>
                    <a:pt x="315" y="55"/>
                  </a:lnTo>
                  <a:lnTo>
                    <a:pt x="330" y="61"/>
                  </a:lnTo>
                  <a:lnTo>
                    <a:pt x="340" y="73"/>
                  </a:lnTo>
                  <a:lnTo>
                    <a:pt x="348" y="86"/>
                  </a:lnTo>
                  <a:lnTo>
                    <a:pt x="351" y="103"/>
                  </a:lnTo>
                  <a:lnTo>
                    <a:pt x="351" y="453"/>
                  </a:lnTo>
                  <a:lnTo>
                    <a:pt x="348" y="470"/>
                  </a:lnTo>
                  <a:lnTo>
                    <a:pt x="340" y="483"/>
                  </a:lnTo>
                  <a:lnTo>
                    <a:pt x="330" y="495"/>
                  </a:lnTo>
                  <a:lnTo>
                    <a:pt x="315" y="501"/>
                  </a:lnTo>
                  <a:lnTo>
                    <a:pt x="300" y="504"/>
                  </a:lnTo>
                  <a:lnTo>
                    <a:pt x="51" y="504"/>
                  </a:lnTo>
                  <a:lnTo>
                    <a:pt x="35" y="501"/>
                  </a:lnTo>
                  <a:lnTo>
                    <a:pt x="21" y="495"/>
                  </a:lnTo>
                  <a:lnTo>
                    <a:pt x="10" y="483"/>
                  </a:lnTo>
                  <a:lnTo>
                    <a:pt x="2" y="470"/>
                  </a:lnTo>
                  <a:lnTo>
                    <a:pt x="0" y="453"/>
                  </a:lnTo>
                  <a:lnTo>
                    <a:pt x="0" y="103"/>
                  </a:lnTo>
                  <a:lnTo>
                    <a:pt x="2" y="86"/>
                  </a:lnTo>
                  <a:lnTo>
                    <a:pt x="10" y="73"/>
                  </a:lnTo>
                  <a:lnTo>
                    <a:pt x="21" y="61"/>
                  </a:lnTo>
                  <a:lnTo>
                    <a:pt x="35" y="55"/>
                  </a:lnTo>
                  <a:lnTo>
                    <a:pt x="51" y="52"/>
                  </a:lnTo>
                  <a:lnTo>
                    <a:pt x="123" y="52"/>
                  </a:lnTo>
                  <a:lnTo>
                    <a:pt x="175" y="0"/>
                  </a:lnTo>
                  <a:close/>
                </a:path>
              </a:pathLst>
            </a:custGeom>
            <a:solidFill>
              <a:srgbClr val="62A39F"/>
            </a:solidFill>
            <a:ln w="0">
              <a:solidFill>
                <a:srgbClr val="62A39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TextBox 47">
              <a:extLst>
                <a:ext uri="{FF2B5EF4-FFF2-40B4-BE49-F238E27FC236}">
                  <a16:creationId xmlns="" xmlns:a16="http://schemas.microsoft.com/office/drawing/2014/main" id="{A32DB724-7D95-404C-B7C6-02FCAAB6127E}"/>
                </a:ext>
              </a:extLst>
            </p:cNvPr>
            <p:cNvSpPr txBox="1"/>
            <p:nvPr/>
          </p:nvSpPr>
          <p:spPr>
            <a:xfrm>
              <a:off x="9046489" y="3836308"/>
              <a:ext cx="2154912" cy="338554"/>
            </a:xfrm>
            <a:prstGeom prst="rect">
              <a:avLst/>
            </a:prstGeom>
            <a:noFill/>
          </p:spPr>
          <p:txBody>
            <a:bodyPr wrap="square" rtlCol="0">
              <a:spAutoFit/>
            </a:bodyPr>
            <a:lstStyle/>
            <a:p>
              <a:pPr algn="ctr"/>
              <a:r>
                <a:rPr lang="en-US" sz="1600" b="1" dirty="0">
                  <a:solidFill>
                    <a:prstClr val="white"/>
                  </a:solidFill>
                  <a:latin typeface="Segoe UI" panose="020B0502040204020203" pitchFamily="34" charset="0"/>
                  <a:ea typeface="Open Sans" panose="020B0606030504020204" pitchFamily="34" charset="0"/>
                  <a:cs typeface="Segoe UI" panose="020B0502040204020203" pitchFamily="34" charset="0"/>
                </a:rPr>
                <a:t>SOLUTIONS</a:t>
              </a:r>
            </a:p>
          </p:txBody>
        </p:sp>
        <p:grpSp>
          <p:nvGrpSpPr>
            <p:cNvPr id="107" name="Group 106">
              <a:extLst>
                <a:ext uri="{FF2B5EF4-FFF2-40B4-BE49-F238E27FC236}">
                  <a16:creationId xmlns="" xmlns:a16="http://schemas.microsoft.com/office/drawing/2014/main" id="{C070AAF9-8823-804E-8F3F-B37FE0C2EFB7}"/>
                </a:ext>
              </a:extLst>
            </p:cNvPr>
            <p:cNvGrpSpPr/>
            <p:nvPr/>
          </p:nvGrpSpPr>
          <p:grpSpPr>
            <a:xfrm>
              <a:off x="9804741" y="3021692"/>
              <a:ext cx="638405" cy="641217"/>
              <a:chOff x="7724775" y="3998913"/>
              <a:chExt cx="360363" cy="361950"/>
            </a:xfrm>
            <a:solidFill>
              <a:schemeClr val="bg1"/>
            </a:solidFill>
          </p:grpSpPr>
          <p:sp>
            <p:nvSpPr>
              <p:cNvPr id="108" name="Freeform 107">
                <a:extLst>
                  <a:ext uri="{FF2B5EF4-FFF2-40B4-BE49-F238E27FC236}">
                    <a16:creationId xmlns="" xmlns:a16="http://schemas.microsoft.com/office/drawing/2014/main" id="{4D2D47D3-9B69-F84B-8C02-FDC670D5A924}"/>
                  </a:ext>
                </a:extLst>
              </p:cNvPr>
              <p:cNvSpPr>
                <a:spLocks/>
              </p:cNvSpPr>
              <p:nvPr/>
            </p:nvSpPr>
            <p:spPr bwMode="auto">
              <a:xfrm>
                <a:off x="7724775" y="4014788"/>
                <a:ext cx="134938" cy="104775"/>
              </a:xfrm>
              <a:custGeom>
                <a:avLst/>
                <a:gdLst>
                  <a:gd name="T0" fmla="*/ 35 w 36"/>
                  <a:gd name="T1" fmla="*/ 2 h 28"/>
                  <a:gd name="T2" fmla="*/ 13 w 36"/>
                  <a:gd name="T3" fmla="*/ 8 h 28"/>
                  <a:gd name="T4" fmla="*/ 2 w 36"/>
                  <a:gd name="T5" fmla="*/ 12 h 28"/>
                  <a:gd name="T6" fmla="*/ 0 w 36"/>
                  <a:gd name="T7" fmla="*/ 13 h 28"/>
                  <a:gd name="T8" fmla="*/ 0 w 36"/>
                  <a:gd name="T9" fmla="*/ 15 h 28"/>
                  <a:gd name="T10" fmla="*/ 31 w 36"/>
                  <a:gd name="T11" fmla="*/ 28 h 28"/>
                  <a:gd name="T12" fmla="*/ 36 w 36"/>
                  <a:gd name="T13" fmla="*/ 28 h 28"/>
                  <a:gd name="T14" fmla="*/ 35 w 36"/>
                  <a:gd name="T15" fmla="*/ 2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8">
                    <a:moveTo>
                      <a:pt x="35" y="2"/>
                    </a:moveTo>
                    <a:cubicBezTo>
                      <a:pt x="27" y="0"/>
                      <a:pt x="19" y="4"/>
                      <a:pt x="13" y="8"/>
                    </a:cubicBezTo>
                    <a:cubicBezTo>
                      <a:pt x="9" y="10"/>
                      <a:pt x="5" y="12"/>
                      <a:pt x="2" y="12"/>
                    </a:cubicBezTo>
                    <a:cubicBezTo>
                      <a:pt x="1" y="12"/>
                      <a:pt x="1" y="12"/>
                      <a:pt x="0" y="13"/>
                    </a:cubicBezTo>
                    <a:cubicBezTo>
                      <a:pt x="0" y="13"/>
                      <a:pt x="0" y="14"/>
                      <a:pt x="0" y="15"/>
                    </a:cubicBezTo>
                    <a:cubicBezTo>
                      <a:pt x="3" y="22"/>
                      <a:pt x="17" y="28"/>
                      <a:pt x="31" y="28"/>
                    </a:cubicBezTo>
                    <a:cubicBezTo>
                      <a:pt x="33" y="28"/>
                      <a:pt x="34" y="28"/>
                      <a:pt x="36" y="28"/>
                    </a:cubicBezTo>
                    <a:cubicBezTo>
                      <a:pt x="34" y="8"/>
                      <a:pt x="34" y="6"/>
                      <a:pt x="3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9" name="Freeform 108">
                <a:extLst>
                  <a:ext uri="{FF2B5EF4-FFF2-40B4-BE49-F238E27FC236}">
                    <a16:creationId xmlns="" xmlns:a16="http://schemas.microsoft.com/office/drawing/2014/main" id="{514677C5-CFAA-724F-B04A-C7D0914002E1}"/>
                  </a:ext>
                </a:extLst>
              </p:cNvPr>
              <p:cNvSpPr>
                <a:spLocks/>
              </p:cNvSpPr>
              <p:nvPr/>
            </p:nvSpPr>
            <p:spPr bwMode="auto">
              <a:xfrm>
                <a:off x="7953375" y="4010025"/>
                <a:ext cx="131763" cy="109538"/>
              </a:xfrm>
              <a:custGeom>
                <a:avLst/>
                <a:gdLst>
                  <a:gd name="T0" fmla="*/ 35 w 35"/>
                  <a:gd name="T1" fmla="*/ 14 h 29"/>
                  <a:gd name="T2" fmla="*/ 33 w 35"/>
                  <a:gd name="T3" fmla="*/ 13 h 29"/>
                  <a:gd name="T4" fmla="*/ 22 w 35"/>
                  <a:gd name="T5" fmla="*/ 8 h 29"/>
                  <a:gd name="T6" fmla="*/ 0 w 35"/>
                  <a:gd name="T7" fmla="*/ 3 h 29"/>
                  <a:gd name="T8" fmla="*/ 0 w 35"/>
                  <a:gd name="T9" fmla="*/ 29 h 29"/>
                  <a:gd name="T10" fmla="*/ 4 w 35"/>
                  <a:gd name="T11" fmla="*/ 29 h 29"/>
                  <a:gd name="T12" fmla="*/ 35 w 35"/>
                  <a:gd name="T13" fmla="*/ 16 h 29"/>
                  <a:gd name="T14" fmla="*/ 35 w 35"/>
                  <a:gd name="T15" fmla="*/ 14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9">
                    <a:moveTo>
                      <a:pt x="35" y="14"/>
                    </a:moveTo>
                    <a:cubicBezTo>
                      <a:pt x="34" y="13"/>
                      <a:pt x="34" y="13"/>
                      <a:pt x="33" y="13"/>
                    </a:cubicBezTo>
                    <a:cubicBezTo>
                      <a:pt x="30" y="13"/>
                      <a:pt x="26" y="11"/>
                      <a:pt x="22" y="8"/>
                    </a:cubicBezTo>
                    <a:cubicBezTo>
                      <a:pt x="16" y="5"/>
                      <a:pt x="8" y="0"/>
                      <a:pt x="0" y="3"/>
                    </a:cubicBezTo>
                    <a:cubicBezTo>
                      <a:pt x="2" y="7"/>
                      <a:pt x="1" y="8"/>
                      <a:pt x="0" y="29"/>
                    </a:cubicBezTo>
                    <a:cubicBezTo>
                      <a:pt x="1" y="29"/>
                      <a:pt x="3" y="29"/>
                      <a:pt x="4" y="29"/>
                    </a:cubicBezTo>
                    <a:cubicBezTo>
                      <a:pt x="19" y="29"/>
                      <a:pt x="32" y="23"/>
                      <a:pt x="35" y="16"/>
                    </a:cubicBezTo>
                    <a:cubicBezTo>
                      <a:pt x="35" y="15"/>
                      <a:pt x="35"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0" name="Freeform 109">
                <a:extLst>
                  <a:ext uri="{FF2B5EF4-FFF2-40B4-BE49-F238E27FC236}">
                    <a16:creationId xmlns="" xmlns:a16="http://schemas.microsoft.com/office/drawing/2014/main" id="{15C392AE-0978-AA4C-ACCB-24C0C2EA5014}"/>
                  </a:ext>
                </a:extLst>
              </p:cNvPr>
              <p:cNvSpPr>
                <a:spLocks/>
              </p:cNvSpPr>
              <p:nvPr/>
            </p:nvSpPr>
            <p:spPr bwMode="auto">
              <a:xfrm>
                <a:off x="7945438" y="4133850"/>
                <a:ext cx="63500" cy="79375"/>
              </a:xfrm>
              <a:custGeom>
                <a:avLst/>
                <a:gdLst>
                  <a:gd name="T0" fmla="*/ 2 w 17"/>
                  <a:gd name="T1" fmla="*/ 4 h 21"/>
                  <a:gd name="T2" fmla="*/ 13 w 17"/>
                  <a:gd name="T3" fmla="*/ 11 h 21"/>
                  <a:gd name="T4" fmla="*/ 7 w 17"/>
                  <a:gd name="T5" fmla="*/ 18 h 21"/>
                  <a:gd name="T6" fmla="*/ 11 w 17"/>
                  <a:gd name="T7" fmla="*/ 21 h 21"/>
                  <a:gd name="T8" fmla="*/ 17 w 17"/>
                  <a:gd name="T9" fmla="*/ 11 h 21"/>
                  <a:gd name="T10" fmla="*/ 3 w 17"/>
                  <a:gd name="T11" fmla="*/ 0 h 21"/>
                  <a:gd name="T12" fmla="*/ 0 w 17"/>
                  <a:gd name="T13" fmla="*/ 1 h 21"/>
                  <a:gd name="T14" fmla="*/ 2 w 17"/>
                  <a:gd name="T15" fmla="*/ 4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1">
                    <a:moveTo>
                      <a:pt x="2" y="4"/>
                    </a:moveTo>
                    <a:cubicBezTo>
                      <a:pt x="10" y="6"/>
                      <a:pt x="13" y="9"/>
                      <a:pt x="13" y="11"/>
                    </a:cubicBezTo>
                    <a:cubicBezTo>
                      <a:pt x="13" y="15"/>
                      <a:pt x="11" y="17"/>
                      <a:pt x="7" y="18"/>
                    </a:cubicBezTo>
                    <a:cubicBezTo>
                      <a:pt x="8" y="19"/>
                      <a:pt x="10" y="20"/>
                      <a:pt x="11" y="21"/>
                    </a:cubicBezTo>
                    <a:cubicBezTo>
                      <a:pt x="15" y="19"/>
                      <a:pt x="17" y="15"/>
                      <a:pt x="17" y="11"/>
                    </a:cubicBezTo>
                    <a:cubicBezTo>
                      <a:pt x="17" y="6"/>
                      <a:pt x="12" y="2"/>
                      <a:pt x="3" y="0"/>
                    </a:cubicBezTo>
                    <a:cubicBezTo>
                      <a:pt x="1" y="0"/>
                      <a:pt x="0" y="0"/>
                      <a:pt x="0" y="1"/>
                    </a:cubicBezTo>
                    <a:cubicBezTo>
                      <a:pt x="0" y="2"/>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110">
                <a:extLst>
                  <a:ext uri="{FF2B5EF4-FFF2-40B4-BE49-F238E27FC236}">
                    <a16:creationId xmlns="" xmlns:a16="http://schemas.microsoft.com/office/drawing/2014/main" id="{8AAFBEAA-A0FA-E14F-9866-EC36154B5F74}"/>
                  </a:ext>
                </a:extLst>
              </p:cNvPr>
              <p:cNvSpPr>
                <a:spLocks/>
              </p:cNvSpPr>
              <p:nvPr/>
            </p:nvSpPr>
            <p:spPr bwMode="auto">
              <a:xfrm>
                <a:off x="7866063" y="3998913"/>
                <a:ext cx="76200" cy="195263"/>
              </a:xfrm>
              <a:custGeom>
                <a:avLst/>
                <a:gdLst>
                  <a:gd name="T0" fmla="*/ 17 w 20"/>
                  <a:gd name="T1" fmla="*/ 52 h 52"/>
                  <a:gd name="T2" fmla="*/ 20 w 20"/>
                  <a:gd name="T3" fmla="*/ 10 h 52"/>
                  <a:gd name="T4" fmla="*/ 10 w 20"/>
                  <a:gd name="T5" fmla="*/ 0 h 52"/>
                  <a:gd name="T6" fmla="*/ 0 w 20"/>
                  <a:gd name="T7" fmla="*/ 10 h 52"/>
                  <a:gd name="T8" fmla="*/ 3 w 20"/>
                  <a:gd name="T9" fmla="*/ 52 h 52"/>
                  <a:gd name="T10" fmla="*/ 17 w 20"/>
                  <a:gd name="T11" fmla="*/ 52 h 52"/>
                </a:gdLst>
                <a:ahLst/>
                <a:cxnLst>
                  <a:cxn ang="0">
                    <a:pos x="T0" y="T1"/>
                  </a:cxn>
                  <a:cxn ang="0">
                    <a:pos x="T2" y="T3"/>
                  </a:cxn>
                  <a:cxn ang="0">
                    <a:pos x="T4" y="T5"/>
                  </a:cxn>
                  <a:cxn ang="0">
                    <a:pos x="T6" y="T7"/>
                  </a:cxn>
                  <a:cxn ang="0">
                    <a:pos x="T8" y="T9"/>
                  </a:cxn>
                  <a:cxn ang="0">
                    <a:pos x="T10" y="T11"/>
                  </a:cxn>
                </a:cxnLst>
                <a:rect l="0" t="0" r="r" b="b"/>
                <a:pathLst>
                  <a:path w="20" h="52">
                    <a:moveTo>
                      <a:pt x="17" y="52"/>
                    </a:moveTo>
                    <a:cubicBezTo>
                      <a:pt x="17" y="52"/>
                      <a:pt x="20" y="12"/>
                      <a:pt x="20" y="10"/>
                    </a:cubicBezTo>
                    <a:cubicBezTo>
                      <a:pt x="20" y="4"/>
                      <a:pt x="16" y="0"/>
                      <a:pt x="10" y="0"/>
                    </a:cubicBezTo>
                    <a:cubicBezTo>
                      <a:pt x="5" y="0"/>
                      <a:pt x="0" y="4"/>
                      <a:pt x="0" y="10"/>
                    </a:cubicBezTo>
                    <a:cubicBezTo>
                      <a:pt x="0" y="12"/>
                      <a:pt x="3" y="52"/>
                      <a:pt x="3" y="52"/>
                    </a:cubicBezTo>
                    <a:lnTo>
                      <a:pt x="1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111">
                <a:extLst>
                  <a:ext uri="{FF2B5EF4-FFF2-40B4-BE49-F238E27FC236}">
                    <a16:creationId xmlns="" xmlns:a16="http://schemas.microsoft.com/office/drawing/2014/main" id="{1A346FF9-E3E3-C246-BD26-503A6DDC6AB2}"/>
                  </a:ext>
                </a:extLst>
              </p:cNvPr>
              <p:cNvSpPr>
                <a:spLocks/>
              </p:cNvSpPr>
              <p:nvPr/>
            </p:nvSpPr>
            <p:spPr bwMode="auto">
              <a:xfrm>
                <a:off x="7881938" y="4240213"/>
                <a:ext cx="44450" cy="30163"/>
              </a:xfrm>
              <a:custGeom>
                <a:avLst/>
                <a:gdLst>
                  <a:gd name="T0" fmla="*/ 12 w 12"/>
                  <a:gd name="T1" fmla="*/ 8 h 8"/>
                  <a:gd name="T2" fmla="*/ 12 w 12"/>
                  <a:gd name="T3" fmla="*/ 0 h 8"/>
                  <a:gd name="T4" fmla="*/ 0 w 12"/>
                  <a:gd name="T5" fmla="*/ 0 h 8"/>
                  <a:gd name="T6" fmla="*/ 0 w 12"/>
                  <a:gd name="T7" fmla="*/ 7 h 8"/>
                  <a:gd name="T8" fmla="*/ 6 w 12"/>
                  <a:gd name="T9" fmla="*/ 7 h 8"/>
                  <a:gd name="T10" fmla="*/ 12 w 12"/>
                  <a:gd name="T11" fmla="*/ 8 h 8"/>
                </a:gdLst>
                <a:ahLst/>
                <a:cxnLst>
                  <a:cxn ang="0">
                    <a:pos x="T0" y="T1"/>
                  </a:cxn>
                  <a:cxn ang="0">
                    <a:pos x="T2" y="T3"/>
                  </a:cxn>
                  <a:cxn ang="0">
                    <a:pos x="T4" y="T5"/>
                  </a:cxn>
                  <a:cxn ang="0">
                    <a:pos x="T6" y="T7"/>
                  </a:cxn>
                  <a:cxn ang="0">
                    <a:pos x="T8" y="T9"/>
                  </a:cxn>
                  <a:cxn ang="0">
                    <a:pos x="T10" y="T11"/>
                  </a:cxn>
                </a:cxnLst>
                <a:rect l="0" t="0" r="r" b="b"/>
                <a:pathLst>
                  <a:path w="12" h="8">
                    <a:moveTo>
                      <a:pt x="12" y="8"/>
                    </a:moveTo>
                    <a:cubicBezTo>
                      <a:pt x="12" y="5"/>
                      <a:pt x="12" y="0"/>
                      <a:pt x="12" y="0"/>
                    </a:cubicBezTo>
                    <a:cubicBezTo>
                      <a:pt x="0" y="0"/>
                      <a:pt x="0" y="0"/>
                      <a:pt x="0" y="0"/>
                    </a:cubicBezTo>
                    <a:cubicBezTo>
                      <a:pt x="0" y="0"/>
                      <a:pt x="0" y="4"/>
                      <a:pt x="0" y="7"/>
                    </a:cubicBezTo>
                    <a:cubicBezTo>
                      <a:pt x="2" y="7"/>
                      <a:pt x="4" y="7"/>
                      <a:pt x="6" y="7"/>
                    </a:cubicBezTo>
                    <a:cubicBezTo>
                      <a:pt x="7" y="7"/>
                      <a:pt x="9" y="7"/>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112">
                <a:extLst>
                  <a:ext uri="{FF2B5EF4-FFF2-40B4-BE49-F238E27FC236}">
                    <a16:creationId xmlns="" xmlns:a16="http://schemas.microsoft.com/office/drawing/2014/main" id="{50C699CE-786F-F64D-B565-27B386B21F89}"/>
                  </a:ext>
                </a:extLst>
              </p:cNvPr>
              <p:cNvSpPr>
                <a:spLocks/>
              </p:cNvSpPr>
              <p:nvPr/>
            </p:nvSpPr>
            <p:spPr bwMode="auto">
              <a:xfrm>
                <a:off x="7885113" y="4311650"/>
                <a:ext cx="38100" cy="49213"/>
              </a:xfrm>
              <a:custGeom>
                <a:avLst/>
                <a:gdLst>
                  <a:gd name="T0" fmla="*/ 5 w 10"/>
                  <a:gd name="T1" fmla="*/ 0 h 13"/>
                  <a:gd name="T2" fmla="*/ 5 w 10"/>
                  <a:gd name="T3" fmla="*/ 0 h 13"/>
                  <a:gd name="T4" fmla="*/ 0 w 10"/>
                  <a:gd name="T5" fmla="*/ 0 h 13"/>
                  <a:gd name="T6" fmla="*/ 1 w 10"/>
                  <a:gd name="T7" fmla="*/ 9 h 13"/>
                  <a:gd name="T8" fmla="*/ 5 w 10"/>
                  <a:gd name="T9" fmla="*/ 13 h 13"/>
                  <a:gd name="T10" fmla="*/ 9 w 10"/>
                  <a:gd name="T11" fmla="*/ 9 h 13"/>
                  <a:gd name="T12" fmla="*/ 10 w 10"/>
                  <a:gd name="T13" fmla="*/ 2 h 13"/>
                  <a:gd name="T14" fmla="*/ 5 w 10"/>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5" y="0"/>
                    </a:moveTo>
                    <a:cubicBezTo>
                      <a:pt x="5" y="0"/>
                      <a:pt x="5" y="0"/>
                      <a:pt x="5" y="0"/>
                    </a:cubicBezTo>
                    <a:cubicBezTo>
                      <a:pt x="4" y="0"/>
                      <a:pt x="2" y="0"/>
                      <a:pt x="0" y="0"/>
                    </a:cubicBezTo>
                    <a:cubicBezTo>
                      <a:pt x="1" y="3"/>
                      <a:pt x="1" y="6"/>
                      <a:pt x="1" y="9"/>
                    </a:cubicBezTo>
                    <a:cubicBezTo>
                      <a:pt x="1" y="11"/>
                      <a:pt x="3" y="13"/>
                      <a:pt x="5" y="13"/>
                    </a:cubicBezTo>
                    <a:cubicBezTo>
                      <a:pt x="7" y="13"/>
                      <a:pt x="9" y="11"/>
                      <a:pt x="9" y="9"/>
                    </a:cubicBezTo>
                    <a:cubicBezTo>
                      <a:pt x="9" y="7"/>
                      <a:pt x="9" y="4"/>
                      <a:pt x="10" y="2"/>
                    </a:cubicBezTo>
                    <a:cubicBezTo>
                      <a:pt x="9"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113">
                <a:extLst>
                  <a:ext uri="{FF2B5EF4-FFF2-40B4-BE49-F238E27FC236}">
                    <a16:creationId xmlns="" xmlns:a16="http://schemas.microsoft.com/office/drawing/2014/main" id="{05C94828-7610-9549-876D-F8841DAB3670}"/>
                  </a:ext>
                </a:extLst>
              </p:cNvPr>
              <p:cNvSpPr>
                <a:spLocks/>
              </p:cNvSpPr>
              <p:nvPr/>
            </p:nvSpPr>
            <p:spPr bwMode="auto">
              <a:xfrm>
                <a:off x="7799388" y="4133850"/>
                <a:ext cx="192088" cy="158750"/>
              </a:xfrm>
              <a:custGeom>
                <a:avLst/>
                <a:gdLst>
                  <a:gd name="T0" fmla="*/ 28 w 51"/>
                  <a:gd name="T1" fmla="*/ 20 h 42"/>
                  <a:gd name="T2" fmla="*/ 11 w 51"/>
                  <a:gd name="T3" fmla="*/ 18 h 42"/>
                  <a:gd name="T4" fmla="*/ 4 w 51"/>
                  <a:gd name="T5" fmla="*/ 11 h 42"/>
                  <a:gd name="T6" fmla="*/ 16 w 51"/>
                  <a:gd name="T7" fmla="*/ 4 h 42"/>
                  <a:gd name="T8" fmla="*/ 17 w 51"/>
                  <a:gd name="T9" fmla="*/ 1 h 42"/>
                  <a:gd name="T10" fmla="*/ 15 w 51"/>
                  <a:gd name="T11" fmla="*/ 0 h 42"/>
                  <a:gd name="T12" fmla="*/ 0 w 51"/>
                  <a:gd name="T13" fmla="*/ 11 h 42"/>
                  <a:gd name="T14" fmla="*/ 10 w 51"/>
                  <a:gd name="T15" fmla="*/ 22 h 42"/>
                  <a:gd name="T16" fmla="*/ 28 w 51"/>
                  <a:gd name="T17" fmla="*/ 24 h 42"/>
                  <a:gd name="T18" fmla="*/ 47 w 51"/>
                  <a:gd name="T19" fmla="*/ 31 h 42"/>
                  <a:gd name="T20" fmla="*/ 39 w 51"/>
                  <a:gd name="T21" fmla="*/ 38 h 42"/>
                  <a:gd name="T22" fmla="*/ 42 w 51"/>
                  <a:gd name="T23" fmla="*/ 42 h 42"/>
                  <a:gd name="T24" fmla="*/ 51 w 51"/>
                  <a:gd name="T25" fmla="*/ 31 h 42"/>
                  <a:gd name="T26" fmla="*/ 28 w 51"/>
                  <a:gd name="T27"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42">
                    <a:moveTo>
                      <a:pt x="28" y="20"/>
                    </a:moveTo>
                    <a:cubicBezTo>
                      <a:pt x="22" y="20"/>
                      <a:pt x="16" y="20"/>
                      <a:pt x="11" y="18"/>
                    </a:cubicBezTo>
                    <a:cubicBezTo>
                      <a:pt x="6" y="17"/>
                      <a:pt x="4" y="15"/>
                      <a:pt x="4" y="11"/>
                    </a:cubicBezTo>
                    <a:cubicBezTo>
                      <a:pt x="4" y="9"/>
                      <a:pt x="8" y="6"/>
                      <a:pt x="16" y="4"/>
                    </a:cubicBezTo>
                    <a:cubicBezTo>
                      <a:pt x="17" y="4"/>
                      <a:pt x="17" y="2"/>
                      <a:pt x="17" y="1"/>
                    </a:cubicBezTo>
                    <a:cubicBezTo>
                      <a:pt x="17" y="0"/>
                      <a:pt x="16" y="0"/>
                      <a:pt x="15" y="0"/>
                    </a:cubicBezTo>
                    <a:cubicBezTo>
                      <a:pt x="5" y="2"/>
                      <a:pt x="0" y="6"/>
                      <a:pt x="0" y="11"/>
                    </a:cubicBezTo>
                    <a:cubicBezTo>
                      <a:pt x="0" y="17"/>
                      <a:pt x="4" y="21"/>
                      <a:pt x="10" y="22"/>
                    </a:cubicBezTo>
                    <a:cubicBezTo>
                      <a:pt x="15" y="24"/>
                      <a:pt x="23" y="24"/>
                      <a:pt x="28" y="24"/>
                    </a:cubicBezTo>
                    <a:cubicBezTo>
                      <a:pt x="41" y="24"/>
                      <a:pt x="47" y="26"/>
                      <a:pt x="47" y="31"/>
                    </a:cubicBezTo>
                    <a:cubicBezTo>
                      <a:pt x="47" y="35"/>
                      <a:pt x="45" y="37"/>
                      <a:pt x="39" y="38"/>
                    </a:cubicBezTo>
                    <a:cubicBezTo>
                      <a:pt x="40" y="39"/>
                      <a:pt x="41" y="40"/>
                      <a:pt x="42" y="42"/>
                    </a:cubicBezTo>
                    <a:cubicBezTo>
                      <a:pt x="47" y="40"/>
                      <a:pt x="51" y="37"/>
                      <a:pt x="51" y="31"/>
                    </a:cubicBezTo>
                    <a:cubicBezTo>
                      <a:pt x="51" y="20"/>
                      <a:pt x="35" y="20"/>
                      <a:pt x="2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114">
                <a:extLst>
                  <a:ext uri="{FF2B5EF4-FFF2-40B4-BE49-F238E27FC236}">
                    <a16:creationId xmlns="" xmlns:a16="http://schemas.microsoft.com/office/drawing/2014/main" id="{15C89BDA-0AEA-9642-9C96-174525BFFDFA}"/>
                  </a:ext>
                </a:extLst>
              </p:cNvPr>
              <p:cNvSpPr>
                <a:spLocks/>
              </p:cNvSpPr>
              <p:nvPr/>
            </p:nvSpPr>
            <p:spPr bwMode="auto">
              <a:xfrm>
                <a:off x="7854950" y="4306888"/>
                <a:ext cx="23813" cy="38100"/>
              </a:xfrm>
              <a:custGeom>
                <a:avLst/>
                <a:gdLst>
                  <a:gd name="T0" fmla="*/ 5 w 6"/>
                  <a:gd name="T1" fmla="*/ 1 h 10"/>
                  <a:gd name="T2" fmla="*/ 1 w 6"/>
                  <a:gd name="T3" fmla="*/ 0 h 10"/>
                  <a:gd name="T4" fmla="*/ 1 w 6"/>
                  <a:gd name="T5" fmla="*/ 9 h 10"/>
                  <a:gd name="T6" fmla="*/ 3 w 6"/>
                  <a:gd name="T7" fmla="*/ 10 h 10"/>
                  <a:gd name="T8" fmla="*/ 4 w 6"/>
                  <a:gd name="T9" fmla="*/ 10 h 10"/>
                  <a:gd name="T10" fmla="*/ 5 w 6"/>
                  <a:gd name="T11" fmla="*/ 7 h 10"/>
                  <a:gd name="T12" fmla="*/ 5 w 6"/>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5" y="1"/>
                    </a:moveTo>
                    <a:cubicBezTo>
                      <a:pt x="4" y="1"/>
                      <a:pt x="2" y="1"/>
                      <a:pt x="1" y="0"/>
                    </a:cubicBezTo>
                    <a:cubicBezTo>
                      <a:pt x="0" y="3"/>
                      <a:pt x="0" y="6"/>
                      <a:pt x="1" y="9"/>
                    </a:cubicBezTo>
                    <a:cubicBezTo>
                      <a:pt x="2" y="10"/>
                      <a:pt x="2" y="10"/>
                      <a:pt x="3" y="10"/>
                    </a:cubicBezTo>
                    <a:cubicBezTo>
                      <a:pt x="4" y="10"/>
                      <a:pt x="4" y="10"/>
                      <a:pt x="4" y="10"/>
                    </a:cubicBezTo>
                    <a:cubicBezTo>
                      <a:pt x="5" y="10"/>
                      <a:pt x="6" y="9"/>
                      <a:pt x="5" y="7"/>
                    </a:cubicBezTo>
                    <a:cubicBezTo>
                      <a:pt x="4" y="5"/>
                      <a:pt x="4"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115">
                <a:extLst>
                  <a:ext uri="{FF2B5EF4-FFF2-40B4-BE49-F238E27FC236}">
                    <a16:creationId xmlns="" xmlns:a16="http://schemas.microsoft.com/office/drawing/2014/main" id="{38ED15E3-7969-0F4B-A5C2-A051EC74F9B4}"/>
                  </a:ext>
                </a:extLst>
              </p:cNvPr>
              <p:cNvSpPr>
                <a:spLocks/>
              </p:cNvSpPr>
              <p:nvPr/>
            </p:nvSpPr>
            <p:spPr bwMode="auto">
              <a:xfrm>
                <a:off x="7818438" y="4229100"/>
                <a:ext cx="134938" cy="115888"/>
              </a:xfrm>
              <a:custGeom>
                <a:avLst/>
                <a:gdLst>
                  <a:gd name="T0" fmla="*/ 23 w 36"/>
                  <a:gd name="T1" fmla="*/ 14 h 31"/>
                  <a:gd name="T2" fmla="*/ 4 w 36"/>
                  <a:gd name="T3" fmla="*/ 6 h 31"/>
                  <a:gd name="T4" fmla="*/ 6 w 36"/>
                  <a:gd name="T5" fmla="*/ 2 h 31"/>
                  <a:gd name="T6" fmla="*/ 2 w 36"/>
                  <a:gd name="T7" fmla="*/ 0 h 31"/>
                  <a:gd name="T8" fmla="*/ 0 w 36"/>
                  <a:gd name="T9" fmla="*/ 6 h 31"/>
                  <a:gd name="T10" fmla="*/ 23 w 36"/>
                  <a:gd name="T11" fmla="*/ 18 h 31"/>
                  <a:gd name="T12" fmla="*/ 31 w 36"/>
                  <a:gd name="T13" fmla="*/ 21 h 31"/>
                  <a:gd name="T14" fmla="*/ 31 w 36"/>
                  <a:gd name="T15" fmla="*/ 28 h 31"/>
                  <a:gd name="T16" fmla="*/ 32 w 36"/>
                  <a:gd name="T17" fmla="*/ 31 h 31"/>
                  <a:gd name="T18" fmla="*/ 33 w 36"/>
                  <a:gd name="T19" fmla="*/ 31 h 31"/>
                  <a:gd name="T20" fmla="*/ 35 w 36"/>
                  <a:gd name="T21" fmla="*/ 30 h 31"/>
                  <a:gd name="T22" fmla="*/ 34 w 36"/>
                  <a:gd name="T23" fmla="*/ 19 h 31"/>
                  <a:gd name="T24" fmla="*/ 23 w 36"/>
                  <a:gd name="T25"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1">
                    <a:moveTo>
                      <a:pt x="23" y="14"/>
                    </a:moveTo>
                    <a:cubicBezTo>
                      <a:pt x="10" y="14"/>
                      <a:pt x="4" y="12"/>
                      <a:pt x="4" y="6"/>
                    </a:cubicBezTo>
                    <a:cubicBezTo>
                      <a:pt x="4" y="4"/>
                      <a:pt x="6" y="2"/>
                      <a:pt x="6" y="2"/>
                    </a:cubicBezTo>
                    <a:cubicBezTo>
                      <a:pt x="2" y="0"/>
                      <a:pt x="2" y="0"/>
                      <a:pt x="2" y="0"/>
                    </a:cubicBezTo>
                    <a:cubicBezTo>
                      <a:pt x="2" y="0"/>
                      <a:pt x="0" y="4"/>
                      <a:pt x="0" y="6"/>
                    </a:cubicBezTo>
                    <a:cubicBezTo>
                      <a:pt x="0" y="18"/>
                      <a:pt x="16" y="18"/>
                      <a:pt x="23" y="18"/>
                    </a:cubicBezTo>
                    <a:cubicBezTo>
                      <a:pt x="23" y="18"/>
                      <a:pt x="29" y="18"/>
                      <a:pt x="31" y="21"/>
                    </a:cubicBezTo>
                    <a:cubicBezTo>
                      <a:pt x="32" y="23"/>
                      <a:pt x="32" y="25"/>
                      <a:pt x="31" y="28"/>
                    </a:cubicBezTo>
                    <a:cubicBezTo>
                      <a:pt x="31" y="30"/>
                      <a:pt x="31" y="31"/>
                      <a:pt x="32" y="31"/>
                    </a:cubicBezTo>
                    <a:cubicBezTo>
                      <a:pt x="32" y="31"/>
                      <a:pt x="33" y="31"/>
                      <a:pt x="33" y="31"/>
                    </a:cubicBezTo>
                    <a:cubicBezTo>
                      <a:pt x="34" y="31"/>
                      <a:pt x="34" y="31"/>
                      <a:pt x="35" y="30"/>
                    </a:cubicBezTo>
                    <a:cubicBezTo>
                      <a:pt x="36" y="26"/>
                      <a:pt x="36" y="22"/>
                      <a:pt x="34" y="19"/>
                    </a:cubicBezTo>
                    <a:cubicBezTo>
                      <a:pt x="31" y="14"/>
                      <a:pt x="23" y="14"/>
                      <a:pt x="2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37" name="Group 136">
            <a:extLst>
              <a:ext uri="{FF2B5EF4-FFF2-40B4-BE49-F238E27FC236}">
                <a16:creationId xmlns="" xmlns:a16="http://schemas.microsoft.com/office/drawing/2014/main" id="{A1A6AB94-A7F1-A341-9531-3FDD1CC00BDC}"/>
              </a:ext>
            </a:extLst>
          </p:cNvPr>
          <p:cNvGrpSpPr/>
          <p:nvPr/>
        </p:nvGrpSpPr>
        <p:grpSpPr>
          <a:xfrm>
            <a:off x="2992469" y="2434462"/>
            <a:ext cx="2032658" cy="1815545"/>
            <a:chOff x="3523865" y="2354581"/>
            <a:chExt cx="2430566" cy="3490041"/>
          </a:xfrm>
        </p:grpSpPr>
        <p:sp>
          <p:nvSpPr>
            <p:cNvPr id="38" name="Freeform 373">
              <a:extLst>
                <a:ext uri="{FF2B5EF4-FFF2-40B4-BE49-F238E27FC236}">
                  <a16:creationId xmlns="" xmlns:a16="http://schemas.microsoft.com/office/drawing/2014/main" id="{74B0D830-E928-8F42-A5AA-406C95354CBF}"/>
                </a:ext>
              </a:extLst>
            </p:cNvPr>
            <p:cNvSpPr>
              <a:spLocks/>
            </p:cNvSpPr>
            <p:nvPr/>
          </p:nvSpPr>
          <p:spPr bwMode="auto">
            <a:xfrm>
              <a:off x="3523865" y="2354581"/>
              <a:ext cx="2430566" cy="3490041"/>
            </a:xfrm>
            <a:custGeom>
              <a:avLst/>
              <a:gdLst>
                <a:gd name="T0" fmla="*/ 175 w 351"/>
                <a:gd name="T1" fmla="*/ 0 h 504"/>
                <a:gd name="T2" fmla="*/ 228 w 351"/>
                <a:gd name="T3" fmla="*/ 52 h 504"/>
                <a:gd name="T4" fmla="*/ 300 w 351"/>
                <a:gd name="T5" fmla="*/ 52 h 504"/>
                <a:gd name="T6" fmla="*/ 315 w 351"/>
                <a:gd name="T7" fmla="*/ 55 h 504"/>
                <a:gd name="T8" fmla="*/ 330 w 351"/>
                <a:gd name="T9" fmla="*/ 61 h 504"/>
                <a:gd name="T10" fmla="*/ 340 w 351"/>
                <a:gd name="T11" fmla="*/ 73 h 504"/>
                <a:gd name="T12" fmla="*/ 348 w 351"/>
                <a:gd name="T13" fmla="*/ 86 h 504"/>
                <a:gd name="T14" fmla="*/ 351 w 351"/>
                <a:gd name="T15" fmla="*/ 103 h 504"/>
                <a:gd name="T16" fmla="*/ 351 w 351"/>
                <a:gd name="T17" fmla="*/ 453 h 504"/>
                <a:gd name="T18" fmla="*/ 348 w 351"/>
                <a:gd name="T19" fmla="*/ 470 h 504"/>
                <a:gd name="T20" fmla="*/ 340 w 351"/>
                <a:gd name="T21" fmla="*/ 483 h 504"/>
                <a:gd name="T22" fmla="*/ 330 w 351"/>
                <a:gd name="T23" fmla="*/ 495 h 504"/>
                <a:gd name="T24" fmla="*/ 315 w 351"/>
                <a:gd name="T25" fmla="*/ 501 h 504"/>
                <a:gd name="T26" fmla="*/ 300 w 351"/>
                <a:gd name="T27" fmla="*/ 504 h 504"/>
                <a:gd name="T28" fmla="*/ 51 w 351"/>
                <a:gd name="T29" fmla="*/ 504 h 504"/>
                <a:gd name="T30" fmla="*/ 35 w 351"/>
                <a:gd name="T31" fmla="*/ 501 h 504"/>
                <a:gd name="T32" fmla="*/ 21 w 351"/>
                <a:gd name="T33" fmla="*/ 495 h 504"/>
                <a:gd name="T34" fmla="*/ 10 w 351"/>
                <a:gd name="T35" fmla="*/ 483 h 504"/>
                <a:gd name="T36" fmla="*/ 2 w 351"/>
                <a:gd name="T37" fmla="*/ 470 h 504"/>
                <a:gd name="T38" fmla="*/ 0 w 351"/>
                <a:gd name="T39" fmla="*/ 453 h 504"/>
                <a:gd name="T40" fmla="*/ 0 w 351"/>
                <a:gd name="T41" fmla="*/ 103 h 504"/>
                <a:gd name="T42" fmla="*/ 2 w 351"/>
                <a:gd name="T43" fmla="*/ 86 h 504"/>
                <a:gd name="T44" fmla="*/ 10 w 351"/>
                <a:gd name="T45" fmla="*/ 73 h 504"/>
                <a:gd name="T46" fmla="*/ 21 w 351"/>
                <a:gd name="T47" fmla="*/ 61 h 504"/>
                <a:gd name="T48" fmla="*/ 35 w 351"/>
                <a:gd name="T49" fmla="*/ 55 h 504"/>
                <a:gd name="T50" fmla="*/ 51 w 351"/>
                <a:gd name="T51" fmla="*/ 52 h 504"/>
                <a:gd name="T52" fmla="*/ 123 w 351"/>
                <a:gd name="T53" fmla="*/ 52 h 504"/>
                <a:gd name="T54" fmla="*/ 175 w 351"/>
                <a:gd name="T5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1" h="504">
                  <a:moveTo>
                    <a:pt x="175" y="0"/>
                  </a:moveTo>
                  <a:lnTo>
                    <a:pt x="228" y="52"/>
                  </a:lnTo>
                  <a:lnTo>
                    <a:pt x="300" y="52"/>
                  </a:lnTo>
                  <a:lnTo>
                    <a:pt x="315" y="55"/>
                  </a:lnTo>
                  <a:lnTo>
                    <a:pt x="330" y="61"/>
                  </a:lnTo>
                  <a:lnTo>
                    <a:pt x="340" y="73"/>
                  </a:lnTo>
                  <a:lnTo>
                    <a:pt x="348" y="86"/>
                  </a:lnTo>
                  <a:lnTo>
                    <a:pt x="351" y="103"/>
                  </a:lnTo>
                  <a:lnTo>
                    <a:pt x="351" y="453"/>
                  </a:lnTo>
                  <a:lnTo>
                    <a:pt x="348" y="470"/>
                  </a:lnTo>
                  <a:lnTo>
                    <a:pt x="340" y="483"/>
                  </a:lnTo>
                  <a:lnTo>
                    <a:pt x="330" y="495"/>
                  </a:lnTo>
                  <a:lnTo>
                    <a:pt x="315" y="501"/>
                  </a:lnTo>
                  <a:lnTo>
                    <a:pt x="300" y="504"/>
                  </a:lnTo>
                  <a:lnTo>
                    <a:pt x="51" y="504"/>
                  </a:lnTo>
                  <a:lnTo>
                    <a:pt x="35" y="501"/>
                  </a:lnTo>
                  <a:lnTo>
                    <a:pt x="21" y="495"/>
                  </a:lnTo>
                  <a:lnTo>
                    <a:pt x="10" y="483"/>
                  </a:lnTo>
                  <a:lnTo>
                    <a:pt x="2" y="470"/>
                  </a:lnTo>
                  <a:lnTo>
                    <a:pt x="0" y="453"/>
                  </a:lnTo>
                  <a:lnTo>
                    <a:pt x="0" y="103"/>
                  </a:lnTo>
                  <a:lnTo>
                    <a:pt x="2" y="86"/>
                  </a:lnTo>
                  <a:lnTo>
                    <a:pt x="10" y="73"/>
                  </a:lnTo>
                  <a:lnTo>
                    <a:pt x="21" y="61"/>
                  </a:lnTo>
                  <a:lnTo>
                    <a:pt x="35" y="55"/>
                  </a:lnTo>
                  <a:lnTo>
                    <a:pt x="51" y="52"/>
                  </a:lnTo>
                  <a:lnTo>
                    <a:pt x="123" y="52"/>
                  </a:lnTo>
                  <a:lnTo>
                    <a:pt x="175" y="0"/>
                  </a:lnTo>
                  <a:close/>
                </a:path>
              </a:pathLst>
            </a:custGeom>
            <a:solidFill>
              <a:srgbClr val="42BA97"/>
            </a:solidFill>
            <a:ln w="0">
              <a:solidFill>
                <a:srgbClr val="42BA9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4" name="TextBox 43">
              <a:extLst>
                <a:ext uri="{FF2B5EF4-FFF2-40B4-BE49-F238E27FC236}">
                  <a16:creationId xmlns="" xmlns:a16="http://schemas.microsoft.com/office/drawing/2014/main" id="{76A1FC97-0F8C-FE4E-B829-BDF14E0ED8B5}"/>
                </a:ext>
              </a:extLst>
            </p:cNvPr>
            <p:cNvSpPr txBox="1"/>
            <p:nvPr/>
          </p:nvSpPr>
          <p:spPr>
            <a:xfrm>
              <a:off x="3674389" y="3836307"/>
              <a:ext cx="2154912" cy="650806"/>
            </a:xfrm>
            <a:prstGeom prst="rect">
              <a:avLst/>
            </a:prstGeom>
            <a:noFill/>
          </p:spPr>
          <p:txBody>
            <a:bodyPr wrap="square" rtlCol="0">
              <a:spAutoFit/>
            </a:bodyPr>
            <a:lstStyle/>
            <a:p>
              <a:pPr algn="ctr"/>
              <a:r>
                <a:rPr lang="en-US" sz="1600" b="1" dirty="0">
                  <a:solidFill>
                    <a:prstClr val="white"/>
                  </a:solidFill>
                  <a:latin typeface="Segoe UI" panose="020B0502040204020203" pitchFamily="34" charset="0"/>
                  <a:ea typeface="Open Sans" panose="020B0606030504020204" pitchFamily="34" charset="0"/>
                  <a:cs typeface="Segoe UI" panose="020B0502040204020203" pitchFamily="34" charset="0"/>
                </a:rPr>
                <a:t>KPI’S</a:t>
              </a:r>
            </a:p>
          </p:txBody>
        </p:sp>
        <p:grpSp>
          <p:nvGrpSpPr>
            <p:cNvPr id="117" name="Group 116">
              <a:extLst>
                <a:ext uri="{FF2B5EF4-FFF2-40B4-BE49-F238E27FC236}">
                  <a16:creationId xmlns="" xmlns:a16="http://schemas.microsoft.com/office/drawing/2014/main" id="{FA14B424-97C6-C748-9AC3-B81A6CA5C8E1}"/>
                </a:ext>
              </a:extLst>
            </p:cNvPr>
            <p:cNvGrpSpPr/>
            <p:nvPr/>
          </p:nvGrpSpPr>
          <p:grpSpPr>
            <a:xfrm>
              <a:off x="4419945" y="3159153"/>
              <a:ext cx="638405" cy="441535"/>
              <a:chOff x="2676525" y="4773613"/>
              <a:chExt cx="360363" cy="249235"/>
            </a:xfrm>
            <a:solidFill>
              <a:schemeClr val="bg1"/>
            </a:solidFill>
          </p:grpSpPr>
          <p:sp>
            <p:nvSpPr>
              <p:cNvPr id="118" name="Freeform 117">
                <a:extLst>
                  <a:ext uri="{FF2B5EF4-FFF2-40B4-BE49-F238E27FC236}">
                    <a16:creationId xmlns="" xmlns:a16="http://schemas.microsoft.com/office/drawing/2014/main" id="{788B533A-F179-D54B-9B99-3191BC294B1C}"/>
                  </a:ext>
                </a:extLst>
              </p:cNvPr>
              <p:cNvSpPr>
                <a:spLocks/>
              </p:cNvSpPr>
              <p:nvPr/>
            </p:nvSpPr>
            <p:spPr bwMode="auto">
              <a:xfrm>
                <a:off x="2695575" y="4795838"/>
                <a:ext cx="60325" cy="46038"/>
              </a:xfrm>
              <a:custGeom>
                <a:avLst/>
                <a:gdLst>
                  <a:gd name="T0" fmla="*/ 1 w 16"/>
                  <a:gd name="T1" fmla="*/ 12 h 12"/>
                  <a:gd name="T2" fmla="*/ 12 w 16"/>
                  <a:gd name="T3" fmla="*/ 12 h 12"/>
                  <a:gd name="T4" fmla="*/ 16 w 16"/>
                  <a:gd name="T5" fmla="*/ 5 h 12"/>
                  <a:gd name="T6" fmla="*/ 15 w 16"/>
                  <a:gd name="T7" fmla="*/ 1 h 12"/>
                  <a:gd name="T8" fmla="*/ 13 w 16"/>
                  <a:gd name="T9" fmla="*/ 0 h 12"/>
                  <a:gd name="T10" fmla="*/ 12 w 16"/>
                  <a:gd name="T11" fmla="*/ 1 h 12"/>
                  <a:gd name="T12" fmla="*/ 0 w 16"/>
                  <a:gd name="T13" fmla="*/ 12 h 12"/>
                  <a:gd name="T14" fmla="*/ 1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 y="12"/>
                    </a:moveTo>
                    <a:cubicBezTo>
                      <a:pt x="12" y="12"/>
                      <a:pt x="12" y="12"/>
                      <a:pt x="12" y="12"/>
                    </a:cubicBezTo>
                    <a:cubicBezTo>
                      <a:pt x="16" y="5"/>
                      <a:pt x="16" y="5"/>
                      <a:pt x="16" y="5"/>
                    </a:cubicBezTo>
                    <a:cubicBezTo>
                      <a:pt x="15" y="1"/>
                      <a:pt x="15" y="1"/>
                      <a:pt x="15" y="1"/>
                    </a:cubicBezTo>
                    <a:cubicBezTo>
                      <a:pt x="15" y="1"/>
                      <a:pt x="14" y="0"/>
                      <a:pt x="13" y="0"/>
                    </a:cubicBezTo>
                    <a:cubicBezTo>
                      <a:pt x="13" y="0"/>
                      <a:pt x="12" y="0"/>
                      <a:pt x="12" y="1"/>
                    </a:cubicBezTo>
                    <a:cubicBezTo>
                      <a:pt x="0" y="12"/>
                      <a:pt x="0" y="12"/>
                      <a:pt x="0" y="12"/>
                    </a:cubicBezTo>
                    <a:cubicBezTo>
                      <a:pt x="1" y="12"/>
                      <a:pt x="1" y="12"/>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118">
                <a:extLst>
                  <a:ext uri="{FF2B5EF4-FFF2-40B4-BE49-F238E27FC236}">
                    <a16:creationId xmlns="" xmlns:a16="http://schemas.microsoft.com/office/drawing/2014/main" id="{6360D0BC-9345-D447-A767-505C197251B1}"/>
                  </a:ext>
                </a:extLst>
              </p:cNvPr>
              <p:cNvSpPr>
                <a:spLocks/>
              </p:cNvSpPr>
              <p:nvPr/>
            </p:nvSpPr>
            <p:spPr bwMode="auto">
              <a:xfrm>
                <a:off x="2957513" y="4795838"/>
                <a:ext cx="60325" cy="46038"/>
              </a:xfrm>
              <a:custGeom>
                <a:avLst/>
                <a:gdLst>
                  <a:gd name="T0" fmla="*/ 15 w 16"/>
                  <a:gd name="T1" fmla="*/ 12 h 12"/>
                  <a:gd name="T2" fmla="*/ 16 w 16"/>
                  <a:gd name="T3" fmla="*/ 12 h 12"/>
                  <a:gd name="T4" fmla="*/ 4 w 16"/>
                  <a:gd name="T5" fmla="*/ 1 h 12"/>
                  <a:gd name="T6" fmla="*/ 3 w 16"/>
                  <a:gd name="T7" fmla="*/ 0 h 12"/>
                  <a:gd name="T8" fmla="*/ 1 w 16"/>
                  <a:gd name="T9" fmla="*/ 1 h 12"/>
                  <a:gd name="T10" fmla="*/ 0 w 16"/>
                  <a:gd name="T11" fmla="*/ 5 h 12"/>
                  <a:gd name="T12" fmla="*/ 4 w 16"/>
                  <a:gd name="T13" fmla="*/ 12 h 12"/>
                  <a:gd name="T14" fmla="*/ 15 w 1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5" y="12"/>
                    </a:moveTo>
                    <a:cubicBezTo>
                      <a:pt x="15" y="12"/>
                      <a:pt x="15" y="12"/>
                      <a:pt x="16" y="12"/>
                    </a:cubicBezTo>
                    <a:cubicBezTo>
                      <a:pt x="4" y="1"/>
                      <a:pt x="4" y="1"/>
                      <a:pt x="4" y="1"/>
                    </a:cubicBezTo>
                    <a:cubicBezTo>
                      <a:pt x="4" y="0"/>
                      <a:pt x="3" y="0"/>
                      <a:pt x="3" y="0"/>
                    </a:cubicBezTo>
                    <a:cubicBezTo>
                      <a:pt x="2" y="0"/>
                      <a:pt x="1" y="1"/>
                      <a:pt x="1" y="1"/>
                    </a:cubicBezTo>
                    <a:cubicBezTo>
                      <a:pt x="0" y="5"/>
                      <a:pt x="0" y="5"/>
                      <a:pt x="0" y="5"/>
                    </a:cubicBezTo>
                    <a:cubicBezTo>
                      <a:pt x="4" y="12"/>
                      <a:pt x="4" y="12"/>
                      <a:pt x="4"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119">
                <a:extLst>
                  <a:ext uri="{FF2B5EF4-FFF2-40B4-BE49-F238E27FC236}">
                    <a16:creationId xmlns="" xmlns:a16="http://schemas.microsoft.com/office/drawing/2014/main" id="{A7D07330-157D-9945-BF66-CBB312504937}"/>
                  </a:ext>
                </a:extLst>
              </p:cNvPr>
              <p:cNvSpPr>
                <a:spLocks/>
              </p:cNvSpPr>
              <p:nvPr/>
            </p:nvSpPr>
            <p:spPr bwMode="auto">
              <a:xfrm>
                <a:off x="2759075" y="4773613"/>
                <a:ext cx="195263" cy="68263"/>
              </a:xfrm>
              <a:custGeom>
                <a:avLst/>
                <a:gdLst>
                  <a:gd name="T0" fmla="*/ 52 w 52"/>
                  <a:gd name="T1" fmla="*/ 18 h 18"/>
                  <a:gd name="T2" fmla="*/ 44 w 52"/>
                  <a:gd name="T3" fmla="*/ 1 h 18"/>
                  <a:gd name="T4" fmla="*/ 42 w 52"/>
                  <a:gd name="T5" fmla="*/ 0 h 18"/>
                  <a:gd name="T6" fmla="*/ 10 w 52"/>
                  <a:gd name="T7" fmla="*/ 0 h 18"/>
                  <a:gd name="T8" fmla="*/ 8 w 52"/>
                  <a:gd name="T9" fmla="*/ 1 h 18"/>
                  <a:gd name="T10" fmla="*/ 0 w 52"/>
                  <a:gd name="T11" fmla="*/ 18 h 18"/>
                  <a:gd name="T12" fmla="*/ 52 w 5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52" h="18">
                    <a:moveTo>
                      <a:pt x="52" y="18"/>
                    </a:moveTo>
                    <a:cubicBezTo>
                      <a:pt x="44" y="1"/>
                      <a:pt x="44" y="1"/>
                      <a:pt x="44" y="1"/>
                    </a:cubicBezTo>
                    <a:cubicBezTo>
                      <a:pt x="43" y="0"/>
                      <a:pt x="43" y="0"/>
                      <a:pt x="42" y="0"/>
                    </a:cubicBezTo>
                    <a:cubicBezTo>
                      <a:pt x="10" y="0"/>
                      <a:pt x="10" y="0"/>
                      <a:pt x="10" y="0"/>
                    </a:cubicBezTo>
                    <a:cubicBezTo>
                      <a:pt x="9" y="0"/>
                      <a:pt x="9" y="0"/>
                      <a:pt x="8" y="1"/>
                    </a:cubicBezTo>
                    <a:cubicBezTo>
                      <a:pt x="0" y="18"/>
                      <a:pt x="0" y="18"/>
                      <a:pt x="0" y="18"/>
                    </a:cubicBezTo>
                    <a:lnTo>
                      <a:pt x="5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120">
                <a:extLst>
                  <a:ext uri="{FF2B5EF4-FFF2-40B4-BE49-F238E27FC236}">
                    <a16:creationId xmlns="" xmlns:a16="http://schemas.microsoft.com/office/drawing/2014/main" id="{354D1096-7559-AB44-A556-38C466690620}"/>
                  </a:ext>
                </a:extLst>
              </p:cNvPr>
              <p:cNvSpPr>
                <a:spLocks noEditPoints="1"/>
              </p:cNvSpPr>
              <p:nvPr/>
            </p:nvSpPr>
            <p:spPr bwMode="auto">
              <a:xfrm>
                <a:off x="2676525" y="4856160"/>
                <a:ext cx="360363" cy="166688"/>
              </a:xfrm>
              <a:custGeom>
                <a:avLst/>
                <a:gdLst>
                  <a:gd name="T0" fmla="*/ 90 w 96"/>
                  <a:gd name="T1" fmla="*/ 0 h 44"/>
                  <a:gd name="T2" fmla="*/ 6 w 96"/>
                  <a:gd name="T3" fmla="*/ 0 h 44"/>
                  <a:gd name="T4" fmla="*/ 0 w 96"/>
                  <a:gd name="T5" fmla="*/ 6 h 44"/>
                  <a:gd name="T6" fmla="*/ 0 w 96"/>
                  <a:gd name="T7" fmla="*/ 7 h 44"/>
                  <a:gd name="T8" fmla="*/ 8 w 96"/>
                  <a:gd name="T9" fmla="*/ 28 h 44"/>
                  <a:gd name="T10" fmla="*/ 18 w 96"/>
                  <a:gd name="T11" fmla="*/ 44 h 44"/>
                  <a:gd name="T12" fmla="*/ 78 w 96"/>
                  <a:gd name="T13" fmla="*/ 44 h 44"/>
                  <a:gd name="T14" fmla="*/ 88 w 96"/>
                  <a:gd name="T15" fmla="*/ 28 h 44"/>
                  <a:gd name="T16" fmla="*/ 96 w 96"/>
                  <a:gd name="T17" fmla="*/ 7 h 44"/>
                  <a:gd name="T18" fmla="*/ 96 w 96"/>
                  <a:gd name="T19" fmla="*/ 6 h 44"/>
                  <a:gd name="T20" fmla="*/ 90 w 96"/>
                  <a:gd name="T21" fmla="*/ 0 h 44"/>
                  <a:gd name="T22" fmla="*/ 64 w 96"/>
                  <a:gd name="T23" fmla="*/ 26 h 44"/>
                  <a:gd name="T24" fmla="*/ 62 w 96"/>
                  <a:gd name="T25" fmla="*/ 28 h 44"/>
                  <a:gd name="T26" fmla="*/ 56 w 96"/>
                  <a:gd name="T27" fmla="*/ 28 h 44"/>
                  <a:gd name="T28" fmla="*/ 56 w 96"/>
                  <a:gd name="T29" fmla="*/ 34 h 44"/>
                  <a:gd name="T30" fmla="*/ 54 w 96"/>
                  <a:gd name="T31" fmla="*/ 36 h 44"/>
                  <a:gd name="T32" fmla="*/ 46 w 96"/>
                  <a:gd name="T33" fmla="*/ 36 h 44"/>
                  <a:gd name="T34" fmla="*/ 44 w 96"/>
                  <a:gd name="T35" fmla="*/ 34 h 44"/>
                  <a:gd name="T36" fmla="*/ 44 w 96"/>
                  <a:gd name="T37" fmla="*/ 28 h 44"/>
                  <a:gd name="T38" fmla="*/ 38 w 96"/>
                  <a:gd name="T39" fmla="*/ 28 h 44"/>
                  <a:gd name="T40" fmla="*/ 36 w 96"/>
                  <a:gd name="T41" fmla="*/ 26 h 44"/>
                  <a:gd name="T42" fmla="*/ 36 w 96"/>
                  <a:gd name="T43" fmla="*/ 18 h 44"/>
                  <a:gd name="T44" fmla="*/ 38 w 96"/>
                  <a:gd name="T45" fmla="*/ 16 h 44"/>
                  <a:gd name="T46" fmla="*/ 44 w 96"/>
                  <a:gd name="T47" fmla="*/ 16 h 44"/>
                  <a:gd name="T48" fmla="*/ 44 w 96"/>
                  <a:gd name="T49" fmla="*/ 10 h 44"/>
                  <a:gd name="T50" fmla="*/ 46 w 96"/>
                  <a:gd name="T51" fmla="*/ 8 h 44"/>
                  <a:gd name="T52" fmla="*/ 54 w 96"/>
                  <a:gd name="T53" fmla="*/ 8 h 44"/>
                  <a:gd name="T54" fmla="*/ 56 w 96"/>
                  <a:gd name="T55" fmla="*/ 10 h 44"/>
                  <a:gd name="T56" fmla="*/ 56 w 96"/>
                  <a:gd name="T57" fmla="*/ 16 h 44"/>
                  <a:gd name="T58" fmla="*/ 62 w 96"/>
                  <a:gd name="T59" fmla="*/ 16 h 44"/>
                  <a:gd name="T60" fmla="*/ 64 w 96"/>
                  <a:gd name="T61" fmla="*/ 18 h 44"/>
                  <a:gd name="T62" fmla="*/ 64 w 96"/>
                  <a:gd name="T63"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44">
                    <a:moveTo>
                      <a:pt x="90" y="0"/>
                    </a:moveTo>
                    <a:cubicBezTo>
                      <a:pt x="6" y="0"/>
                      <a:pt x="6" y="0"/>
                      <a:pt x="6" y="0"/>
                    </a:cubicBezTo>
                    <a:cubicBezTo>
                      <a:pt x="3" y="0"/>
                      <a:pt x="0" y="3"/>
                      <a:pt x="0" y="6"/>
                    </a:cubicBezTo>
                    <a:cubicBezTo>
                      <a:pt x="0" y="7"/>
                      <a:pt x="0" y="7"/>
                      <a:pt x="0" y="7"/>
                    </a:cubicBezTo>
                    <a:cubicBezTo>
                      <a:pt x="4" y="16"/>
                      <a:pt x="6" y="23"/>
                      <a:pt x="8" y="28"/>
                    </a:cubicBezTo>
                    <a:cubicBezTo>
                      <a:pt x="13" y="43"/>
                      <a:pt x="14" y="44"/>
                      <a:pt x="18" y="44"/>
                    </a:cubicBezTo>
                    <a:cubicBezTo>
                      <a:pt x="78" y="44"/>
                      <a:pt x="78" y="44"/>
                      <a:pt x="78" y="44"/>
                    </a:cubicBezTo>
                    <a:cubicBezTo>
                      <a:pt x="82" y="44"/>
                      <a:pt x="83" y="43"/>
                      <a:pt x="88" y="28"/>
                    </a:cubicBezTo>
                    <a:cubicBezTo>
                      <a:pt x="90" y="23"/>
                      <a:pt x="92" y="16"/>
                      <a:pt x="96" y="7"/>
                    </a:cubicBezTo>
                    <a:cubicBezTo>
                      <a:pt x="96" y="6"/>
                      <a:pt x="96" y="6"/>
                      <a:pt x="96" y="6"/>
                    </a:cubicBezTo>
                    <a:cubicBezTo>
                      <a:pt x="96" y="3"/>
                      <a:pt x="93" y="0"/>
                      <a:pt x="90" y="0"/>
                    </a:cubicBezTo>
                    <a:close/>
                    <a:moveTo>
                      <a:pt x="64" y="26"/>
                    </a:moveTo>
                    <a:cubicBezTo>
                      <a:pt x="64" y="27"/>
                      <a:pt x="63" y="28"/>
                      <a:pt x="62" y="28"/>
                    </a:cubicBezTo>
                    <a:cubicBezTo>
                      <a:pt x="56" y="28"/>
                      <a:pt x="56" y="28"/>
                      <a:pt x="56" y="28"/>
                    </a:cubicBezTo>
                    <a:cubicBezTo>
                      <a:pt x="56" y="34"/>
                      <a:pt x="56" y="34"/>
                      <a:pt x="56" y="34"/>
                    </a:cubicBezTo>
                    <a:cubicBezTo>
                      <a:pt x="56" y="35"/>
                      <a:pt x="55" y="36"/>
                      <a:pt x="54" y="36"/>
                    </a:cubicBezTo>
                    <a:cubicBezTo>
                      <a:pt x="46" y="36"/>
                      <a:pt x="46" y="36"/>
                      <a:pt x="46" y="36"/>
                    </a:cubicBezTo>
                    <a:cubicBezTo>
                      <a:pt x="45" y="36"/>
                      <a:pt x="44" y="35"/>
                      <a:pt x="44" y="34"/>
                    </a:cubicBezTo>
                    <a:cubicBezTo>
                      <a:pt x="44" y="28"/>
                      <a:pt x="44" y="28"/>
                      <a:pt x="44" y="28"/>
                    </a:cubicBezTo>
                    <a:cubicBezTo>
                      <a:pt x="38" y="28"/>
                      <a:pt x="38" y="28"/>
                      <a:pt x="38" y="28"/>
                    </a:cubicBezTo>
                    <a:cubicBezTo>
                      <a:pt x="37" y="28"/>
                      <a:pt x="36" y="27"/>
                      <a:pt x="36" y="26"/>
                    </a:cubicBezTo>
                    <a:cubicBezTo>
                      <a:pt x="36" y="18"/>
                      <a:pt x="36" y="18"/>
                      <a:pt x="36" y="18"/>
                    </a:cubicBezTo>
                    <a:cubicBezTo>
                      <a:pt x="36" y="17"/>
                      <a:pt x="37" y="16"/>
                      <a:pt x="38" y="16"/>
                    </a:cubicBezTo>
                    <a:cubicBezTo>
                      <a:pt x="44" y="16"/>
                      <a:pt x="44" y="16"/>
                      <a:pt x="44" y="16"/>
                    </a:cubicBezTo>
                    <a:cubicBezTo>
                      <a:pt x="44" y="10"/>
                      <a:pt x="44" y="10"/>
                      <a:pt x="44" y="10"/>
                    </a:cubicBezTo>
                    <a:cubicBezTo>
                      <a:pt x="44" y="9"/>
                      <a:pt x="45" y="8"/>
                      <a:pt x="46" y="8"/>
                    </a:cubicBezTo>
                    <a:cubicBezTo>
                      <a:pt x="54" y="8"/>
                      <a:pt x="54" y="8"/>
                      <a:pt x="54" y="8"/>
                    </a:cubicBezTo>
                    <a:cubicBezTo>
                      <a:pt x="55" y="8"/>
                      <a:pt x="56" y="9"/>
                      <a:pt x="56" y="10"/>
                    </a:cubicBezTo>
                    <a:cubicBezTo>
                      <a:pt x="56" y="16"/>
                      <a:pt x="56" y="16"/>
                      <a:pt x="56" y="16"/>
                    </a:cubicBezTo>
                    <a:cubicBezTo>
                      <a:pt x="62" y="16"/>
                      <a:pt x="62" y="16"/>
                      <a:pt x="62" y="16"/>
                    </a:cubicBezTo>
                    <a:cubicBezTo>
                      <a:pt x="63" y="16"/>
                      <a:pt x="64" y="17"/>
                      <a:pt x="64" y="18"/>
                    </a:cubicBezTo>
                    <a:lnTo>
                      <a:pt x="6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cxnSp>
        <p:nvCxnSpPr>
          <p:cNvPr id="126" name="Straight Connector 125">
            <a:extLst>
              <a:ext uri="{FF2B5EF4-FFF2-40B4-BE49-F238E27FC236}">
                <a16:creationId xmlns="" xmlns:a16="http://schemas.microsoft.com/office/drawing/2014/main" id="{D0A657A5-39D6-0243-8435-DB9F3782AA5E}"/>
              </a:ext>
            </a:extLst>
          </p:cNvPr>
          <p:cNvCxnSpPr>
            <a:cxnSpLocks/>
          </p:cNvCxnSpPr>
          <p:nvPr/>
        </p:nvCxnSpPr>
        <p:spPr>
          <a:xfrm>
            <a:off x="976970" y="2194560"/>
            <a:ext cx="1035324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 xmlns:a16="http://schemas.microsoft.com/office/drawing/2014/main" id="{AB283590-5E12-4D4F-88BA-D9DB36FBE2DB}"/>
              </a:ext>
            </a:extLst>
          </p:cNvPr>
          <p:cNvSpPr/>
          <p:nvPr/>
        </p:nvSpPr>
        <p:spPr>
          <a:xfrm>
            <a:off x="1802294" y="2120539"/>
            <a:ext cx="182880" cy="182880"/>
          </a:xfrm>
          <a:prstGeom prst="ellipse">
            <a:avLst/>
          </a:prstGeom>
          <a:gradFill>
            <a:gsLst>
              <a:gs pos="0">
                <a:srgbClr val="1CADE4"/>
              </a:gs>
              <a:gs pos="100000">
                <a:srgbClr val="42BA97"/>
              </a:gs>
            </a:gsLst>
            <a:lin ang="5400000" scaled="1"/>
          </a:gradFill>
          <a:ln w="0">
            <a:no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algn="ctr"/>
            <a:endParaRPr lang="en-US" kern="0">
              <a:solidFill>
                <a:prstClr val="black"/>
              </a:solidFill>
            </a:endParaRPr>
          </a:p>
        </p:txBody>
      </p:sp>
      <p:sp>
        <p:nvSpPr>
          <p:cNvPr id="130" name="Oval 129">
            <a:extLst>
              <a:ext uri="{FF2B5EF4-FFF2-40B4-BE49-F238E27FC236}">
                <a16:creationId xmlns="" xmlns:a16="http://schemas.microsoft.com/office/drawing/2014/main" id="{AA9A8244-F05F-0A4D-BB9A-C376A98B0DBB}"/>
              </a:ext>
            </a:extLst>
          </p:cNvPr>
          <p:cNvSpPr/>
          <p:nvPr/>
        </p:nvSpPr>
        <p:spPr>
          <a:xfrm>
            <a:off x="3943029" y="2121163"/>
            <a:ext cx="157156" cy="211490"/>
          </a:xfrm>
          <a:prstGeom prst="ellipse">
            <a:avLst/>
          </a:prstGeom>
          <a:solidFill>
            <a:schemeClr val="bg1">
              <a:lumMod val="75000"/>
            </a:schemeClr>
          </a:solidFill>
          <a:ln w="0">
            <a:no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algn="ctr"/>
            <a:endParaRPr lang="en-US" kern="0" dirty="0">
              <a:solidFill>
                <a:prstClr val="black"/>
              </a:solidFill>
              <a:highlight>
                <a:srgbClr val="008080"/>
              </a:highlight>
            </a:endParaRPr>
          </a:p>
        </p:txBody>
      </p:sp>
      <p:sp>
        <p:nvSpPr>
          <p:cNvPr id="131" name="Oval 130">
            <a:extLst>
              <a:ext uri="{FF2B5EF4-FFF2-40B4-BE49-F238E27FC236}">
                <a16:creationId xmlns="" xmlns:a16="http://schemas.microsoft.com/office/drawing/2014/main" id="{D871AAFC-6A24-D248-9838-E59DDA478E64}"/>
              </a:ext>
            </a:extLst>
          </p:cNvPr>
          <p:cNvSpPr/>
          <p:nvPr/>
        </p:nvSpPr>
        <p:spPr>
          <a:xfrm>
            <a:off x="6062154" y="2087043"/>
            <a:ext cx="217348" cy="217617"/>
          </a:xfrm>
          <a:prstGeom prst="ellipse">
            <a:avLst/>
          </a:prstGeom>
          <a:solidFill>
            <a:schemeClr val="bg1">
              <a:lumMod val="75000"/>
            </a:schemeClr>
          </a:solidFill>
          <a:ln w="0">
            <a:no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algn="ctr"/>
            <a:endParaRPr lang="en-US" kern="0" dirty="0">
              <a:solidFill>
                <a:prstClr val="black"/>
              </a:solidFill>
              <a:highlight>
                <a:srgbClr val="42BA97"/>
              </a:highlight>
            </a:endParaRPr>
          </a:p>
        </p:txBody>
      </p:sp>
      <p:sp>
        <p:nvSpPr>
          <p:cNvPr id="132" name="Oval 131">
            <a:extLst>
              <a:ext uri="{FF2B5EF4-FFF2-40B4-BE49-F238E27FC236}">
                <a16:creationId xmlns="" xmlns:a16="http://schemas.microsoft.com/office/drawing/2014/main" id="{D9C8BD27-E8CB-5045-AD36-128C2E35BB4B}"/>
              </a:ext>
            </a:extLst>
          </p:cNvPr>
          <p:cNvSpPr/>
          <p:nvPr/>
        </p:nvSpPr>
        <p:spPr>
          <a:xfrm>
            <a:off x="8229321" y="2103215"/>
            <a:ext cx="177561" cy="229438"/>
          </a:xfrm>
          <a:prstGeom prst="ellipse">
            <a:avLst/>
          </a:prstGeom>
          <a:solidFill>
            <a:schemeClr val="bg1">
              <a:lumMod val="75000"/>
            </a:schemeClr>
          </a:solidFill>
          <a:ln w="0">
            <a:no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algn="ctr"/>
            <a:endParaRPr lang="en-US" kern="0">
              <a:solidFill>
                <a:prstClr val="black"/>
              </a:solidFill>
            </a:endParaRPr>
          </a:p>
        </p:txBody>
      </p:sp>
      <p:grpSp>
        <p:nvGrpSpPr>
          <p:cNvPr id="2" name="Group 1">
            <a:extLst>
              <a:ext uri="{FF2B5EF4-FFF2-40B4-BE49-F238E27FC236}">
                <a16:creationId xmlns="" xmlns:a16="http://schemas.microsoft.com/office/drawing/2014/main" id="{BB389C68-2F4A-8CD5-0E47-944DBD201460}"/>
              </a:ext>
            </a:extLst>
          </p:cNvPr>
          <p:cNvGrpSpPr/>
          <p:nvPr/>
        </p:nvGrpSpPr>
        <p:grpSpPr>
          <a:xfrm>
            <a:off x="5171646" y="2427915"/>
            <a:ext cx="2030136" cy="1820280"/>
            <a:chOff x="862173" y="2167041"/>
            <a:chExt cx="2430566" cy="3490041"/>
          </a:xfrm>
        </p:grpSpPr>
        <p:sp>
          <p:nvSpPr>
            <p:cNvPr id="3" name="Freeform 373">
              <a:extLst>
                <a:ext uri="{FF2B5EF4-FFF2-40B4-BE49-F238E27FC236}">
                  <a16:creationId xmlns="" xmlns:a16="http://schemas.microsoft.com/office/drawing/2014/main" id="{437DF463-3680-9FEF-1ED7-19F17A69E598}"/>
                </a:ext>
              </a:extLst>
            </p:cNvPr>
            <p:cNvSpPr>
              <a:spLocks/>
            </p:cNvSpPr>
            <p:nvPr/>
          </p:nvSpPr>
          <p:spPr bwMode="auto">
            <a:xfrm>
              <a:off x="862173" y="2167041"/>
              <a:ext cx="2430566" cy="3490041"/>
            </a:xfrm>
            <a:custGeom>
              <a:avLst/>
              <a:gdLst>
                <a:gd name="T0" fmla="*/ 175 w 351"/>
                <a:gd name="T1" fmla="*/ 0 h 504"/>
                <a:gd name="T2" fmla="*/ 228 w 351"/>
                <a:gd name="T3" fmla="*/ 52 h 504"/>
                <a:gd name="T4" fmla="*/ 300 w 351"/>
                <a:gd name="T5" fmla="*/ 52 h 504"/>
                <a:gd name="T6" fmla="*/ 315 w 351"/>
                <a:gd name="T7" fmla="*/ 55 h 504"/>
                <a:gd name="T8" fmla="*/ 330 w 351"/>
                <a:gd name="T9" fmla="*/ 61 h 504"/>
                <a:gd name="T10" fmla="*/ 340 w 351"/>
                <a:gd name="T11" fmla="*/ 73 h 504"/>
                <a:gd name="T12" fmla="*/ 348 w 351"/>
                <a:gd name="T13" fmla="*/ 86 h 504"/>
                <a:gd name="T14" fmla="*/ 351 w 351"/>
                <a:gd name="T15" fmla="*/ 103 h 504"/>
                <a:gd name="T16" fmla="*/ 351 w 351"/>
                <a:gd name="T17" fmla="*/ 453 h 504"/>
                <a:gd name="T18" fmla="*/ 348 w 351"/>
                <a:gd name="T19" fmla="*/ 470 h 504"/>
                <a:gd name="T20" fmla="*/ 340 w 351"/>
                <a:gd name="T21" fmla="*/ 483 h 504"/>
                <a:gd name="T22" fmla="*/ 330 w 351"/>
                <a:gd name="T23" fmla="*/ 495 h 504"/>
                <a:gd name="T24" fmla="*/ 315 w 351"/>
                <a:gd name="T25" fmla="*/ 501 h 504"/>
                <a:gd name="T26" fmla="*/ 300 w 351"/>
                <a:gd name="T27" fmla="*/ 504 h 504"/>
                <a:gd name="T28" fmla="*/ 51 w 351"/>
                <a:gd name="T29" fmla="*/ 504 h 504"/>
                <a:gd name="T30" fmla="*/ 35 w 351"/>
                <a:gd name="T31" fmla="*/ 501 h 504"/>
                <a:gd name="T32" fmla="*/ 21 w 351"/>
                <a:gd name="T33" fmla="*/ 495 h 504"/>
                <a:gd name="T34" fmla="*/ 10 w 351"/>
                <a:gd name="T35" fmla="*/ 483 h 504"/>
                <a:gd name="T36" fmla="*/ 2 w 351"/>
                <a:gd name="T37" fmla="*/ 470 h 504"/>
                <a:gd name="T38" fmla="*/ 0 w 351"/>
                <a:gd name="T39" fmla="*/ 453 h 504"/>
                <a:gd name="T40" fmla="*/ 0 w 351"/>
                <a:gd name="T41" fmla="*/ 103 h 504"/>
                <a:gd name="T42" fmla="*/ 2 w 351"/>
                <a:gd name="T43" fmla="*/ 86 h 504"/>
                <a:gd name="T44" fmla="*/ 10 w 351"/>
                <a:gd name="T45" fmla="*/ 73 h 504"/>
                <a:gd name="T46" fmla="*/ 21 w 351"/>
                <a:gd name="T47" fmla="*/ 61 h 504"/>
                <a:gd name="T48" fmla="*/ 35 w 351"/>
                <a:gd name="T49" fmla="*/ 55 h 504"/>
                <a:gd name="T50" fmla="*/ 51 w 351"/>
                <a:gd name="T51" fmla="*/ 52 h 504"/>
                <a:gd name="T52" fmla="*/ 123 w 351"/>
                <a:gd name="T53" fmla="*/ 52 h 504"/>
                <a:gd name="T54" fmla="*/ 175 w 351"/>
                <a:gd name="T5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1" h="504">
                  <a:moveTo>
                    <a:pt x="175" y="0"/>
                  </a:moveTo>
                  <a:lnTo>
                    <a:pt x="228" y="52"/>
                  </a:lnTo>
                  <a:lnTo>
                    <a:pt x="300" y="52"/>
                  </a:lnTo>
                  <a:lnTo>
                    <a:pt x="315" y="55"/>
                  </a:lnTo>
                  <a:lnTo>
                    <a:pt x="330" y="61"/>
                  </a:lnTo>
                  <a:lnTo>
                    <a:pt x="340" y="73"/>
                  </a:lnTo>
                  <a:lnTo>
                    <a:pt x="348" y="86"/>
                  </a:lnTo>
                  <a:lnTo>
                    <a:pt x="351" y="103"/>
                  </a:lnTo>
                  <a:lnTo>
                    <a:pt x="351" y="453"/>
                  </a:lnTo>
                  <a:lnTo>
                    <a:pt x="348" y="470"/>
                  </a:lnTo>
                  <a:lnTo>
                    <a:pt x="340" y="483"/>
                  </a:lnTo>
                  <a:lnTo>
                    <a:pt x="330" y="495"/>
                  </a:lnTo>
                  <a:lnTo>
                    <a:pt x="315" y="501"/>
                  </a:lnTo>
                  <a:lnTo>
                    <a:pt x="300" y="504"/>
                  </a:lnTo>
                  <a:lnTo>
                    <a:pt x="51" y="504"/>
                  </a:lnTo>
                  <a:lnTo>
                    <a:pt x="35" y="501"/>
                  </a:lnTo>
                  <a:lnTo>
                    <a:pt x="21" y="495"/>
                  </a:lnTo>
                  <a:lnTo>
                    <a:pt x="10" y="483"/>
                  </a:lnTo>
                  <a:lnTo>
                    <a:pt x="2" y="470"/>
                  </a:lnTo>
                  <a:lnTo>
                    <a:pt x="0" y="453"/>
                  </a:lnTo>
                  <a:lnTo>
                    <a:pt x="0" y="103"/>
                  </a:lnTo>
                  <a:lnTo>
                    <a:pt x="2" y="86"/>
                  </a:lnTo>
                  <a:lnTo>
                    <a:pt x="10" y="73"/>
                  </a:lnTo>
                  <a:lnTo>
                    <a:pt x="21" y="61"/>
                  </a:lnTo>
                  <a:lnTo>
                    <a:pt x="35" y="55"/>
                  </a:lnTo>
                  <a:lnTo>
                    <a:pt x="51" y="52"/>
                  </a:lnTo>
                  <a:lnTo>
                    <a:pt x="123" y="52"/>
                  </a:lnTo>
                  <a:lnTo>
                    <a:pt x="175" y="0"/>
                  </a:lnTo>
                  <a:close/>
                </a:path>
              </a:pathLst>
            </a:custGeom>
            <a:gradFill>
              <a:gsLst>
                <a:gs pos="0">
                  <a:srgbClr val="1CADE4"/>
                </a:gs>
                <a:gs pos="100000">
                  <a:srgbClr val="42BA97"/>
                </a:gs>
              </a:gsLst>
              <a:lin ang="5400000" scaled="1"/>
            </a:gradFill>
            <a:ln w="0">
              <a:solidFill>
                <a:schemeClr val="accent2">
                  <a:lumMod val="40000"/>
                  <a:lumOff val="60000"/>
                </a:schemeClr>
              </a:solid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 name="TextBox 3">
              <a:extLst>
                <a:ext uri="{FF2B5EF4-FFF2-40B4-BE49-F238E27FC236}">
                  <a16:creationId xmlns="" xmlns:a16="http://schemas.microsoft.com/office/drawing/2014/main" id="{24FABDD8-C488-9C31-29B2-381E530AFE4F}"/>
                </a:ext>
              </a:extLst>
            </p:cNvPr>
            <p:cNvSpPr txBox="1"/>
            <p:nvPr/>
          </p:nvSpPr>
          <p:spPr>
            <a:xfrm>
              <a:off x="959763" y="3836309"/>
              <a:ext cx="2154912" cy="649113"/>
            </a:xfrm>
            <a:prstGeom prst="rect">
              <a:avLst/>
            </a:prstGeom>
            <a:noFill/>
          </p:spPr>
          <p:txBody>
            <a:bodyPr wrap="square" rtlCol="0">
              <a:spAutoFit/>
            </a:bodyPr>
            <a:lstStyle/>
            <a:p>
              <a:pPr algn="ctr"/>
              <a:r>
                <a:rPr lang="en-US" sz="1600" b="1" dirty="0">
                  <a:solidFill>
                    <a:prstClr val="white"/>
                  </a:solidFill>
                  <a:latin typeface="Segoe UI" panose="020B0502040204020203" pitchFamily="34" charset="0"/>
                  <a:ea typeface="Open Sans" panose="020B0606030504020204" pitchFamily="34" charset="0"/>
                  <a:cs typeface="Segoe UI" panose="020B0502040204020203" pitchFamily="34" charset="0"/>
                </a:rPr>
                <a:t>WORK DONE</a:t>
              </a:r>
            </a:p>
          </p:txBody>
        </p:sp>
      </p:grpSp>
      <p:sp>
        <p:nvSpPr>
          <p:cNvPr id="8" name="Oval 7">
            <a:extLst>
              <a:ext uri="{FF2B5EF4-FFF2-40B4-BE49-F238E27FC236}">
                <a16:creationId xmlns="" xmlns:a16="http://schemas.microsoft.com/office/drawing/2014/main" id="{0B87F9AE-1E2F-33A7-4737-30DA4CDE0845}"/>
              </a:ext>
            </a:extLst>
          </p:cNvPr>
          <p:cNvSpPr/>
          <p:nvPr/>
        </p:nvSpPr>
        <p:spPr>
          <a:xfrm>
            <a:off x="10368851" y="2076735"/>
            <a:ext cx="197818" cy="226684"/>
          </a:xfrm>
          <a:prstGeom prst="ellipse">
            <a:avLst/>
          </a:prstGeom>
          <a:solidFill>
            <a:schemeClr val="bg1">
              <a:lumMod val="75000"/>
            </a:schemeClr>
          </a:solidFill>
          <a:ln w="0">
            <a:noFill/>
            <a:prstDash val="solid"/>
            <a:round/>
            <a:headEnd/>
            <a:tailEnd/>
          </a:ln>
          <a:effectLst>
            <a:outerShdw blurRad="520700" dist="50800" dir="5400000" algn="ctr" rotWithShape="0">
              <a:srgbClr val="000000">
                <a:alpha val="43137"/>
              </a:srgbClr>
            </a:outerShdw>
          </a:effectLst>
        </p:spPr>
        <p:txBody>
          <a:bodyPr vert="horz" wrap="square" lIns="91440" tIns="45720" rIns="91440" bIns="45720" numCol="1" anchor="t" anchorCtr="0" compatLnSpc="1">
            <a:prstTxWarp prst="textNoShape">
              <a:avLst/>
            </a:prstTxWarp>
          </a:bodyPr>
          <a:lstStyle/>
          <a:p>
            <a:pPr algn="ctr"/>
            <a:endParaRPr lang="en-US" kern="0">
              <a:solidFill>
                <a:prstClr val="black"/>
              </a:solidFill>
            </a:endParaRPr>
          </a:p>
        </p:txBody>
      </p:sp>
      <p:sp>
        <p:nvSpPr>
          <p:cNvPr id="10" name="Freeform 80">
            <a:extLst>
              <a:ext uri="{FF2B5EF4-FFF2-40B4-BE49-F238E27FC236}">
                <a16:creationId xmlns="" xmlns:a16="http://schemas.microsoft.com/office/drawing/2014/main" id="{8B8DC9B4-E5AC-E77B-76F1-AE5A063BC93B}"/>
              </a:ext>
            </a:extLst>
          </p:cNvPr>
          <p:cNvSpPr>
            <a:spLocks/>
          </p:cNvSpPr>
          <p:nvPr/>
        </p:nvSpPr>
        <p:spPr bwMode="auto">
          <a:xfrm>
            <a:off x="5921205" y="2790000"/>
            <a:ext cx="503412" cy="393835"/>
          </a:xfrm>
          <a:custGeom>
            <a:avLst/>
            <a:gdLst>
              <a:gd name="T0" fmla="*/ 74 w 76"/>
              <a:gd name="T1" fmla="*/ 0 h 88"/>
              <a:gd name="T2" fmla="*/ 64 w 76"/>
              <a:gd name="T3" fmla="*/ 0 h 88"/>
              <a:gd name="T4" fmla="*/ 64 w 76"/>
              <a:gd name="T5" fmla="*/ 2 h 88"/>
              <a:gd name="T6" fmla="*/ 64 w 76"/>
              <a:gd name="T7" fmla="*/ 8 h 88"/>
              <a:gd name="T8" fmla="*/ 66 w 76"/>
              <a:gd name="T9" fmla="*/ 8 h 88"/>
              <a:gd name="T10" fmla="*/ 68 w 76"/>
              <a:gd name="T11" fmla="*/ 10 h 88"/>
              <a:gd name="T12" fmla="*/ 68 w 76"/>
              <a:gd name="T13" fmla="*/ 78 h 88"/>
              <a:gd name="T14" fmla="*/ 66 w 76"/>
              <a:gd name="T15" fmla="*/ 80 h 88"/>
              <a:gd name="T16" fmla="*/ 10 w 76"/>
              <a:gd name="T17" fmla="*/ 80 h 88"/>
              <a:gd name="T18" fmla="*/ 8 w 76"/>
              <a:gd name="T19" fmla="*/ 78 h 88"/>
              <a:gd name="T20" fmla="*/ 8 w 76"/>
              <a:gd name="T21" fmla="*/ 10 h 88"/>
              <a:gd name="T22" fmla="*/ 10 w 76"/>
              <a:gd name="T23" fmla="*/ 8 h 88"/>
              <a:gd name="T24" fmla="*/ 12 w 76"/>
              <a:gd name="T25" fmla="*/ 8 h 88"/>
              <a:gd name="T26" fmla="*/ 12 w 76"/>
              <a:gd name="T27" fmla="*/ 0 h 88"/>
              <a:gd name="T28" fmla="*/ 2 w 76"/>
              <a:gd name="T29" fmla="*/ 0 h 88"/>
              <a:gd name="T30" fmla="*/ 0 w 76"/>
              <a:gd name="T31" fmla="*/ 2 h 88"/>
              <a:gd name="T32" fmla="*/ 0 w 76"/>
              <a:gd name="T33" fmla="*/ 86 h 88"/>
              <a:gd name="T34" fmla="*/ 2 w 76"/>
              <a:gd name="T35" fmla="*/ 88 h 88"/>
              <a:gd name="T36" fmla="*/ 74 w 76"/>
              <a:gd name="T37" fmla="*/ 88 h 88"/>
              <a:gd name="T38" fmla="*/ 76 w 76"/>
              <a:gd name="T39" fmla="*/ 86 h 88"/>
              <a:gd name="T40" fmla="*/ 76 w 76"/>
              <a:gd name="T41" fmla="*/ 2 h 88"/>
              <a:gd name="T42" fmla="*/ 74 w 76"/>
              <a:gd name="T4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 h="88">
                <a:moveTo>
                  <a:pt x="74" y="0"/>
                </a:moveTo>
                <a:cubicBezTo>
                  <a:pt x="64" y="0"/>
                  <a:pt x="64" y="0"/>
                  <a:pt x="64" y="0"/>
                </a:cubicBezTo>
                <a:cubicBezTo>
                  <a:pt x="64" y="1"/>
                  <a:pt x="64" y="1"/>
                  <a:pt x="64" y="2"/>
                </a:cubicBezTo>
                <a:cubicBezTo>
                  <a:pt x="64" y="8"/>
                  <a:pt x="64" y="8"/>
                  <a:pt x="64" y="8"/>
                </a:cubicBezTo>
                <a:cubicBezTo>
                  <a:pt x="66" y="8"/>
                  <a:pt x="66" y="8"/>
                  <a:pt x="66" y="8"/>
                </a:cubicBezTo>
                <a:cubicBezTo>
                  <a:pt x="67" y="8"/>
                  <a:pt x="68" y="9"/>
                  <a:pt x="68" y="10"/>
                </a:cubicBezTo>
                <a:cubicBezTo>
                  <a:pt x="68" y="78"/>
                  <a:pt x="68" y="78"/>
                  <a:pt x="68" y="78"/>
                </a:cubicBezTo>
                <a:cubicBezTo>
                  <a:pt x="68" y="79"/>
                  <a:pt x="67" y="80"/>
                  <a:pt x="66" y="80"/>
                </a:cubicBezTo>
                <a:cubicBezTo>
                  <a:pt x="10" y="80"/>
                  <a:pt x="10" y="80"/>
                  <a:pt x="10" y="80"/>
                </a:cubicBezTo>
                <a:cubicBezTo>
                  <a:pt x="9" y="80"/>
                  <a:pt x="8" y="79"/>
                  <a:pt x="8" y="78"/>
                </a:cubicBezTo>
                <a:cubicBezTo>
                  <a:pt x="8" y="10"/>
                  <a:pt x="8" y="10"/>
                  <a:pt x="8" y="10"/>
                </a:cubicBezTo>
                <a:cubicBezTo>
                  <a:pt x="8" y="9"/>
                  <a:pt x="9" y="8"/>
                  <a:pt x="10" y="8"/>
                </a:cubicBezTo>
                <a:cubicBezTo>
                  <a:pt x="12" y="8"/>
                  <a:pt x="12" y="8"/>
                  <a:pt x="12" y="8"/>
                </a:cubicBezTo>
                <a:cubicBezTo>
                  <a:pt x="12" y="0"/>
                  <a:pt x="12" y="0"/>
                  <a:pt x="12" y="0"/>
                </a:cubicBezTo>
                <a:cubicBezTo>
                  <a:pt x="2" y="0"/>
                  <a:pt x="2" y="0"/>
                  <a:pt x="2" y="0"/>
                </a:cubicBezTo>
                <a:cubicBezTo>
                  <a:pt x="1" y="0"/>
                  <a:pt x="0" y="1"/>
                  <a:pt x="0" y="2"/>
                </a:cubicBezTo>
                <a:cubicBezTo>
                  <a:pt x="0" y="86"/>
                  <a:pt x="0" y="86"/>
                  <a:pt x="0" y="86"/>
                </a:cubicBezTo>
                <a:cubicBezTo>
                  <a:pt x="0" y="87"/>
                  <a:pt x="1" y="88"/>
                  <a:pt x="2" y="88"/>
                </a:cubicBezTo>
                <a:cubicBezTo>
                  <a:pt x="74" y="88"/>
                  <a:pt x="74" y="88"/>
                  <a:pt x="74" y="88"/>
                </a:cubicBezTo>
                <a:cubicBezTo>
                  <a:pt x="75" y="88"/>
                  <a:pt x="76" y="87"/>
                  <a:pt x="76" y="86"/>
                </a:cubicBezTo>
                <a:cubicBezTo>
                  <a:pt x="76" y="2"/>
                  <a:pt x="76" y="2"/>
                  <a:pt x="76" y="2"/>
                </a:cubicBezTo>
                <a:cubicBezTo>
                  <a:pt x="76" y="1"/>
                  <a:pt x="75" y="0"/>
                  <a:pt x="7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81">
            <a:extLst>
              <a:ext uri="{FF2B5EF4-FFF2-40B4-BE49-F238E27FC236}">
                <a16:creationId xmlns="" xmlns:a16="http://schemas.microsoft.com/office/drawing/2014/main" id="{EF7D45B6-6281-EFB4-EED3-7E1394577867}"/>
              </a:ext>
            </a:extLst>
          </p:cNvPr>
          <p:cNvSpPr>
            <a:spLocks/>
          </p:cNvSpPr>
          <p:nvPr/>
        </p:nvSpPr>
        <p:spPr bwMode="auto">
          <a:xfrm>
            <a:off x="6039065" y="2761872"/>
            <a:ext cx="295298" cy="160305"/>
          </a:xfrm>
          <a:custGeom>
            <a:avLst/>
            <a:gdLst>
              <a:gd name="T0" fmla="*/ 2 w 44"/>
              <a:gd name="T1" fmla="*/ 24 h 24"/>
              <a:gd name="T2" fmla="*/ 42 w 44"/>
              <a:gd name="T3" fmla="*/ 24 h 24"/>
              <a:gd name="T4" fmla="*/ 44 w 44"/>
              <a:gd name="T5" fmla="*/ 22 h 24"/>
              <a:gd name="T6" fmla="*/ 44 w 44"/>
              <a:gd name="T7" fmla="*/ 10 h 24"/>
              <a:gd name="T8" fmla="*/ 42 w 44"/>
              <a:gd name="T9" fmla="*/ 8 h 24"/>
              <a:gd name="T10" fmla="*/ 32 w 44"/>
              <a:gd name="T11" fmla="*/ 8 h 24"/>
              <a:gd name="T12" fmla="*/ 22 w 44"/>
              <a:gd name="T13" fmla="*/ 0 h 24"/>
              <a:gd name="T14" fmla="*/ 12 w 44"/>
              <a:gd name="T15" fmla="*/ 8 h 24"/>
              <a:gd name="T16" fmla="*/ 2 w 44"/>
              <a:gd name="T17" fmla="*/ 8 h 24"/>
              <a:gd name="T18" fmla="*/ 0 w 44"/>
              <a:gd name="T19" fmla="*/ 10 h 24"/>
              <a:gd name="T20" fmla="*/ 0 w 44"/>
              <a:gd name="T21" fmla="*/ 22 h 24"/>
              <a:gd name="T22" fmla="*/ 2 w 44"/>
              <a:gd name="T2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4">
                <a:moveTo>
                  <a:pt x="2" y="24"/>
                </a:moveTo>
                <a:cubicBezTo>
                  <a:pt x="42" y="24"/>
                  <a:pt x="42" y="24"/>
                  <a:pt x="42" y="24"/>
                </a:cubicBezTo>
                <a:cubicBezTo>
                  <a:pt x="43" y="24"/>
                  <a:pt x="44" y="23"/>
                  <a:pt x="44" y="22"/>
                </a:cubicBezTo>
                <a:cubicBezTo>
                  <a:pt x="44" y="10"/>
                  <a:pt x="44" y="10"/>
                  <a:pt x="44" y="10"/>
                </a:cubicBezTo>
                <a:cubicBezTo>
                  <a:pt x="44" y="9"/>
                  <a:pt x="43" y="8"/>
                  <a:pt x="42" y="8"/>
                </a:cubicBezTo>
                <a:cubicBezTo>
                  <a:pt x="32" y="8"/>
                  <a:pt x="32" y="8"/>
                  <a:pt x="32" y="8"/>
                </a:cubicBezTo>
                <a:cubicBezTo>
                  <a:pt x="31" y="3"/>
                  <a:pt x="27" y="0"/>
                  <a:pt x="22" y="0"/>
                </a:cubicBezTo>
                <a:cubicBezTo>
                  <a:pt x="17" y="0"/>
                  <a:pt x="13" y="3"/>
                  <a:pt x="12" y="8"/>
                </a:cubicBezTo>
                <a:cubicBezTo>
                  <a:pt x="2" y="8"/>
                  <a:pt x="2" y="8"/>
                  <a:pt x="2" y="8"/>
                </a:cubicBezTo>
                <a:cubicBezTo>
                  <a:pt x="1" y="8"/>
                  <a:pt x="0" y="9"/>
                  <a:pt x="0" y="10"/>
                </a:cubicBezTo>
                <a:cubicBezTo>
                  <a:pt x="0" y="22"/>
                  <a:pt x="0" y="22"/>
                  <a:pt x="0" y="22"/>
                </a:cubicBezTo>
                <a:cubicBezTo>
                  <a:pt x="0" y="23"/>
                  <a:pt x="1" y="24"/>
                  <a:pt x="2"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sp>
        <p:nvSpPr>
          <p:cNvPr id="13" name="Freeform 79">
            <a:extLst>
              <a:ext uri="{FF2B5EF4-FFF2-40B4-BE49-F238E27FC236}">
                <a16:creationId xmlns="" xmlns:a16="http://schemas.microsoft.com/office/drawing/2014/main" id="{87C7913C-452C-3B71-E776-59D4E56D1135}"/>
              </a:ext>
            </a:extLst>
          </p:cNvPr>
          <p:cNvSpPr>
            <a:spLocks/>
          </p:cNvSpPr>
          <p:nvPr/>
        </p:nvSpPr>
        <p:spPr bwMode="auto">
          <a:xfrm>
            <a:off x="6070959" y="2938410"/>
            <a:ext cx="188429" cy="188429"/>
          </a:xfrm>
          <a:custGeom>
            <a:avLst/>
            <a:gdLst>
              <a:gd name="T0" fmla="*/ 18 w 28"/>
              <a:gd name="T1" fmla="*/ 0 h 28"/>
              <a:gd name="T2" fmla="*/ 10 w 28"/>
              <a:gd name="T3" fmla="*/ 0 h 28"/>
              <a:gd name="T4" fmla="*/ 8 w 28"/>
              <a:gd name="T5" fmla="*/ 2 h 28"/>
              <a:gd name="T6" fmla="*/ 8 w 28"/>
              <a:gd name="T7" fmla="*/ 8 h 28"/>
              <a:gd name="T8" fmla="*/ 2 w 28"/>
              <a:gd name="T9" fmla="*/ 8 h 28"/>
              <a:gd name="T10" fmla="*/ 0 w 28"/>
              <a:gd name="T11" fmla="*/ 10 h 28"/>
              <a:gd name="T12" fmla="*/ 0 w 28"/>
              <a:gd name="T13" fmla="*/ 18 h 28"/>
              <a:gd name="T14" fmla="*/ 2 w 28"/>
              <a:gd name="T15" fmla="*/ 20 h 28"/>
              <a:gd name="T16" fmla="*/ 8 w 28"/>
              <a:gd name="T17" fmla="*/ 20 h 28"/>
              <a:gd name="T18" fmla="*/ 8 w 28"/>
              <a:gd name="T19" fmla="*/ 26 h 28"/>
              <a:gd name="T20" fmla="*/ 10 w 28"/>
              <a:gd name="T21" fmla="*/ 28 h 28"/>
              <a:gd name="T22" fmla="*/ 18 w 28"/>
              <a:gd name="T23" fmla="*/ 28 h 28"/>
              <a:gd name="T24" fmla="*/ 20 w 28"/>
              <a:gd name="T25" fmla="*/ 26 h 28"/>
              <a:gd name="T26" fmla="*/ 20 w 28"/>
              <a:gd name="T27" fmla="*/ 20 h 28"/>
              <a:gd name="T28" fmla="*/ 26 w 28"/>
              <a:gd name="T29" fmla="*/ 20 h 28"/>
              <a:gd name="T30" fmla="*/ 28 w 28"/>
              <a:gd name="T31" fmla="*/ 18 h 28"/>
              <a:gd name="T32" fmla="*/ 28 w 28"/>
              <a:gd name="T33" fmla="*/ 10 h 28"/>
              <a:gd name="T34" fmla="*/ 26 w 28"/>
              <a:gd name="T35" fmla="*/ 8 h 28"/>
              <a:gd name="T36" fmla="*/ 20 w 28"/>
              <a:gd name="T37" fmla="*/ 8 h 28"/>
              <a:gd name="T38" fmla="*/ 20 w 28"/>
              <a:gd name="T39" fmla="*/ 2 h 28"/>
              <a:gd name="T40" fmla="*/ 18 w 28"/>
              <a:gd name="T4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8">
                <a:moveTo>
                  <a:pt x="18" y="0"/>
                </a:moveTo>
                <a:cubicBezTo>
                  <a:pt x="10" y="0"/>
                  <a:pt x="10" y="0"/>
                  <a:pt x="10" y="0"/>
                </a:cubicBezTo>
                <a:cubicBezTo>
                  <a:pt x="9" y="0"/>
                  <a:pt x="8" y="1"/>
                  <a:pt x="8" y="2"/>
                </a:cubicBezTo>
                <a:cubicBezTo>
                  <a:pt x="8" y="8"/>
                  <a:pt x="8" y="8"/>
                  <a:pt x="8" y="8"/>
                </a:cubicBezTo>
                <a:cubicBezTo>
                  <a:pt x="2" y="8"/>
                  <a:pt x="2" y="8"/>
                  <a:pt x="2" y="8"/>
                </a:cubicBezTo>
                <a:cubicBezTo>
                  <a:pt x="1" y="8"/>
                  <a:pt x="0" y="9"/>
                  <a:pt x="0" y="10"/>
                </a:cubicBezTo>
                <a:cubicBezTo>
                  <a:pt x="0" y="18"/>
                  <a:pt x="0" y="18"/>
                  <a:pt x="0" y="18"/>
                </a:cubicBezTo>
                <a:cubicBezTo>
                  <a:pt x="0" y="19"/>
                  <a:pt x="1" y="20"/>
                  <a:pt x="2" y="20"/>
                </a:cubicBezTo>
                <a:cubicBezTo>
                  <a:pt x="8" y="20"/>
                  <a:pt x="8" y="20"/>
                  <a:pt x="8" y="20"/>
                </a:cubicBezTo>
                <a:cubicBezTo>
                  <a:pt x="8" y="26"/>
                  <a:pt x="8" y="26"/>
                  <a:pt x="8" y="26"/>
                </a:cubicBezTo>
                <a:cubicBezTo>
                  <a:pt x="8" y="27"/>
                  <a:pt x="9" y="28"/>
                  <a:pt x="10" y="28"/>
                </a:cubicBezTo>
                <a:cubicBezTo>
                  <a:pt x="18" y="28"/>
                  <a:pt x="18" y="28"/>
                  <a:pt x="18" y="28"/>
                </a:cubicBezTo>
                <a:cubicBezTo>
                  <a:pt x="19" y="28"/>
                  <a:pt x="20" y="27"/>
                  <a:pt x="20" y="26"/>
                </a:cubicBezTo>
                <a:cubicBezTo>
                  <a:pt x="20" y="20"/>
                  <a:pt x="20" y="20"/>
                  <a:pt x="20" y="20"/>
                </a:cubicBezTo>
                <a:cubicBezTo>
                  <a:pt x="26" y="20"/>
                  <a:pt x="26" y="20"/>
                  <a:pt x="26" y="20"/>
                </a:cubicBezTo>
                <a:cubicBezTo>
                  <a:pt x="27" y="20"/>
                  <a:pt x="28" y="19"/>
                  <a:pt x="28" y="18"/>
                </a:cubicBezTo>
                <a:cubicBezTo>
                  <a:pt x="28" y="10"/>
                  <a:pt x="28" y="10"/>
                  <a:pt x="28" y="10"/>
                </a:cubicBezTo>
                <a:cubicBezTo>
                  <a:pt x="28" y="9"/>
                  <a:pt x="27" y="8"/>
                  <a:pt x="26" y="8"/>
                </a:cubicBezTo>
                <a:cubicBezTo>
                  <a:pt x="20" y="8"/>
                  <a:pt x="20" y="8"/>
                  <a:pt x="20" y="8"/>
                </a:cubicBezTo>
                <a:cubicBezTo>
                  <a:pt x="20" y="2"/>
                  <a:pt x="20" y="2"/>
                  <a:pt x="20" y="2"/>
                </a:cubicBezTo>
                <a:cubicBezTo>
                  <a:pt x="20" y="1"/>
                  <a:pt x="19" y="0"/>
                  <a:pt x="1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spTree>
    <p:extLst>
      <p:ext uri="{BB962C8B-B14F-4D97-AF65-F5344CB8AC3E}">
        <p14:creationId xmlns:p14="http://schemas.microsoft.com/office/powerpoint/2010/main" val="214836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39"/>
                                        </p:tgtEl>
                                        <p:attrNameLst>
                                          <p:attrName>style.visibility</p:attrName>
                                        </p:attrNameLst>
                                      </p:cBhvr>
                                      <p:to>
                                        <p:strVal val="visible"/>
                                      </p:to>
                                    </p:set>
                                    <p:anim calcmode="lin" valueType="num">
                                      <p:cBhvr additive="base">
                                        <p:cTn id="12" dur="500" fill="hold"/>
                                        <p:tgtEl>
                                          <p:spTgt spid="139"/>
                                        </p:tgtEl>
                                        <p:attrNameLst>
                                          <p:attrName>ppt_x</p:attrName>
                                        </p:attrNameLst>
                                      </p:cBhvr>
                                      <p:tavLst>
                                        <p:tav tm="0">
                                          <p:val>
                                            <p:strVal val="#ppt_x"/>
                                          </p:val>
                                        </p:tav>
                                        <p:tav tm="100000">
                                          <p:val>
                                            <p:strVal val="#ppt_x"/>
                                          </p:val>
                                        </p:tav>
                                      </p:tavLst>
                                    </p:anim>
                                    <p:anim calcmode="lin" valueType="num">
                                      <p:cBhvr additive="base">
                                        <p:cTn id="13" dur="500" fill="hold"/>
                                        <p:tgtEl>
                                          <p:spTgt spid="13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5" presetClass="entr" presetSubtype="0" fill="hold" nodeType="clickEffect">
                                  <p:stCondLst>
                                    <p:cond delay="0"/>
                                  </p:stCondLst>
                                  <p:childTnLst>
                                    <p:set>
                                      <p:cBhvr>
                                        <p:cTn id="17" dur="1" fill="hold">
                                          <p:stCondLst>
                                            <p:cond delay="0"/>
                                          </p:stCondLst>
                                        </p:cTn>
                                        <p:tgtEl>
                                          <p:spTgt spid="137"/>
                                        </p:tgtEl>
                                        <p:attrNameLst>
                                          <p:attrName>style.visibility</p:attrName>
                                        </p:attrNameLst>
                                      </p:cBhvr>
                                      <p:to>
                                        <p:strVal val="visible"/>
                                      </p:to>
                                    </p:set>
                                    <p:animEffect transition="in" filter="fade">
                                      <p:cBhvr>
                                        <p:cTn id="18" dur="2000"/>
                                        <p:tgtEl>
                                          <p:spTgt spid="137"/>
                                        </p:tgtEl>
                                      </p:cBhvr>
                                    </p:animEffect>
                                    <p:anim calcmode="lin" valueType="num">
                                      <p:cBhvr>
                                        <p:cTn id="19" dur="2000" fill="hold"/>
                                        <p:tgtEl>
                                          <p:spTgt spid="137"/>
                                        </p:tgtEl>
                                        <p:attrNameLst>
                                          <p:attrName>ppt_w</p:attrName>
                                        </p:attrNameLst>
                                      </p:cBhvr>
                                      <p:tavLst>
                                        <p:tav tm="0" fmla="#ppt_w*sin(2.5*pi*$)">
                                          <p:val>
                                            <p:fltVal val="0"/>
                                          </p:val>
                                        </p:tav>
                                        <p:tav tm="100000">
                                          <p:val>
                                            <p:fltVal val="1"/>
                                          </p:val>
                                        </p:tav>
                                      </p:tavLst>
                                    </p:anim>
                                    <p:anim calcmode="lin" valueType="num">
                                      <p:cBhvr>
                                        <p:cTn id="20" dur="2000" fill="hold"/>
                                        <p:tgtEl>
                                          <p:spTgt spid="137"/>
                                        </p:tgtEl>
                                        <p:attrNameLst>
                                          <p:attrName>ppt_h</p:attrName>
                                        </p:attrNameLst>
                                      </p:cBhvr>
                                      <p:tavLst>
                                        <p:tav tm="0">
                                          <p:val>
                                            <p:strVal val="#ppt_h"/>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nodeType="clickEffect">
                                  <p:stCondLst>
                                    <p:cond delay="0"/>
                                  </p:stCondLst>
                                  <p:childTnLst>
                                    <p:set>
                                      <p:cBhvr>
                                        <p:cTn id="24" dur="1" fill="hold">
                                          <p:stCondLst>
                                            <p:cond delay="0"/>
                                          </p:stCondLst>
                                        </p:cTn>
                                        <p:tgtEl>
                                          <p:spTgt spid="136"/>
                                        </p:tgtEl>
                                        <p:attrNameLst>
                                          <p:attrName>style.visibility</p:attrName>
                                        </p:attrNameLst>
                                      </p:cBhvr>
                                      <p:to>
                                        <p:strVal val="visible"/>
                                      </p:to>
                                    </p:set>
                                    <p:animEffect transition="in" filter="randombar(horizontal)">
                                      <p:cBhvr>
                                        <p:cTn id="25" dur="500"/>
                                        <p:tgtEl>
                                          <p:spTgt spid="136"/>
                                        </p:tgtEl>
                                      </p:cBhvr>
                                    </p:animEffect>
                                  </p:childTnLst>
                                </p:cTn>
                              </p:par>
                            </p:childTnLst>
                          </p:cTn>
                        </p:par>
                      </p:childTnLst>
                    </p:cTn>
                  </p:par>
                  <p:par>
                    <p:cTn id="26" fill="hold">
                      <p:stCondLst>
                        <p:cond delay="indefinite"/>
                      </p:stCondLst>
                      <p:childTnLst>
                        <p:par>
                          <p:cTn id="27" fill="hold">
                            <p:stCondLst>
                              <p:cond delay="0"/>
                            </p:stCondLst>
                            <p:childTnLst>
                              <p:par>
                                <p:cTn id="28" presetID="26" presetClass="entr" presetSubtype="0" fill="hold" nodeType="clickEffect">
                                  <p:stCondLst>
                                    <p:cond delay="0"/>
                                  </p:stCondLst>
                                  <p:childTnLst>
                                    <p:set>
                                      <p:cBhvr>
                                        <p:cTn id="29" dur="1" fill="hold">
                                          <p:stCondLst>
                                            <p:cond delay="0"/>
                                          </p:stCondLst>
                                        </p:cTn>
                                        <p:tgtEl>
                                          <p:spTgt spid="135"/>
                                        </p:tgtEl>
                                        <p:attrNameLst>
                                          <p:attrName>style.visibility</p:attrName>
                                        </p:attrNameLst>
                                      </p:cBhvr>
                                      <p:to>
                                        <p:strVal val="visible"/>
                                      </p:to>
                                    </p:set>
                                    <p:animEffect transition="in" filter="wipe(down)">
                                      <p:cBhvr>
                                        <p:cTn id="30" dur="580">
                                          <p:stCondLst>
                                            <p:cond delay="0"/>
                                          </p:stCondLst>
                                        </p:cTn>
                                        <p:tgtEl>
                                          <p:spTgt spid="135"/>
                                        </p:tgtEl>
                                      </p:cBhvr>
                                    </p:animEffect>
                                    <p:anim calcmode="lin" valueType="num">
                                      <p:cBhvr>
                                        <p:cTn id="31" dur="1822" tmFilter="0,0; 0.14,0.36; 0.43,0.73; 0.71,0.91; 1.0,1.0">
                                          <p:stCondLst>
                                            <p:cond delay="0"/>
                                          </p:stCondLst>
                                        </p:cTn>
                                        <p:tgtEl>
                                          <p:spTgt spid="135"/>
                                        </p:tgtEl>
                                        <p:attrNameLst>
                                          <p:attrName>ppt_x</p:attrName>
                                        </p:attrNameLst>
                                      </p:cBhvr>
                                      <p:tavLst>
                                        <p:tav tm="0">
                                          <p:val>
                                            <p:strVal val="#ppt_x-0.25"/>
                                          </p:val>
                                        </p:tav>
                                        <p:tav tm="100000">
                                          <p:val>
                                            <p:strVal val="#ppt_x"/>
                                          </p:val>
                                        </p:tav>
                                      </p:tavLst>
                                    </p:anim>
                                    <p:anim calcmode="lin" valueType="num">
                                      <p:cBhvr>
                                        <p:cTn id="32" dur="664" tmFilter="0.0,0.0; 0.25,0.07; 0.50,0.2; 0.75,0.467; 1.0,1.0">
                                          <p:stCondLst>
                                            <p:cond delay="0"/>
                                          </p:stCondLst>
                                        </p:cTn>
                                        <p:tgtEl>
                                          <p:spTgt spid="135"/>
                                        </p:tgtEl>
                                        <p:attrNameLst>
                                          <p:attrName>ppt_y</p:attrName>
                                        </p:attrNameLst>
                                      </p:cBhvr>
                                      <p:tavLst>
                                        <p:tav tm="0" fmla="#ppt_y-sin(pi*$)/3">
                                          <p:val>
                                            <p:fltVal val="0.5"/>
                                          </p:val>
                                        </p:tav>
                                        <p:tav tm="100000">
                                          <p:val>
                                            <p:fltVal val="1"/>
                                          </p:val>
                                        </p:tav>
                                      </p:tavLst>
                                    </p:anim>
                                    <p:anim calcmode="lin" valueType="num">
                                      <p:cBhvr>
                                        <p:cTn id="33" dur="664" tmFilter="0, 0; 0.125,0.2665; 0.25,0.4; 0.375,0.465; 0.5,0.5;  0.625,0.535; 0.75,0.6; 0.875,0.7335; 1,1">
                                          <p:stCondLst>
                                            <p:cond delay="664"/>
                                          </p:stCondLst>
                                        </p:cTn>
                                        <p:tgtEl>
                                          <p:spTgt spid="135"/>
                                        </p:tgtEl>
                                        <p:attrNameLst>
                                          <p:attrName>ppt_y</p:attrName>
                                        </p:attrNameLst>
                                      </p:cBhvr>
                                      <p:tavLst>
                                        <p:tav tm="0" fmla="#ppt_y-sin(pi*$)/9">
                                          <p:val>
                                            <p:fltVal val="0"/>
                                          </p:val>
                                        </p:tav>
                                        <p:tav tm="100000">
                                          <p:val>
                                            <p:fltVal val="1"/>
                                          </p:val>
                                        </p:tav>
                                      </p:tavLst>
                                    </p:anim>
                                    <p:anim calcmode="lin" valueType="num">
                                      <p:cBhvr>
                                        <p:cTn id="34" dur="332" tmFilter="0, 0; 0.125,0.2665; 0.25,0.4; 0.375,0.465; 0.5,0.5;  0.625,0.535; 0.75,0.6; 0.875,0.7335; 1,1">
                                          <p:stCondLst>
                                            <p:cond delay="1324"/>
                                          </p:stCondLst>
                                        </p:cTn>
                                        <p:tgtEl>
                                          <p:spTgt spid="135"/>
                                        </p:tgtEl>
                                        <p:attrNameLst>
                                          <p:attrName>ppt_y</p:attrName>
                                        </p:attrNameLst>
                                      </p:cBhvr>
                                      <p:tavLst>
                                        <p:tav tm="0" fmla="#ppt_y-sin(pi*$)/27">
                                          <p:val>
                                            <p:fltVal val="0"/>
                                          </p:val>
                                        </p:tav>
                                        <p:tav tm="100000">
                                          <p:val>
                                            <p:fltVal val="1"/>
                                          </p:val>
                                        </p:tav>
                                      </p:tavLst>
                                    </p:anim>
                                    <p:anim calcmode="lin" valueType="num">
                                      <p:cBhvr>
                                        <p:cTn id="35" dur="164" tmFilter="0, 0; 0.125,0.2665; 0.25,0.4; 0.375,0.465; 0.5,0.5;  0.625,0.535; 0.75,0.6; 0.875,0.7335; 1,1">
                                          <p:stCondLst>
                                            <p:cond delay="1656"/>
                                          </p:stCondLst>
                                        </p:cTn>
                                        <p:tgtEl>
                                          <p:spTgt spid="135"/>
                                        </p:tgtEl>
                                        <p:attrNameLst>
                                          <p:attrName>ppt_y</p:attrName>
                                        </p:attrNameLst>
                                      </p:cBhvr>
                                      <p:tavLst>
                                        <p:tav tm="0" fmla="#ppt_y-sin(pi*$)/81">
                                          <p:val>
                                            <p:fltVal val="0"/>
                                          </p:val>
                                        </p:tav>
                                        <p:tav tm="100000">
                                          <p:val>
                                            <p:fltVal val="1"/>
                                          </p:val>
                                        </p:tav>
                                      </p:tavLst>
                                    </p:anim>
                                    <p:animScale>
                                      <p:cBhvr>
                                        <p:cTn id="36" dur="26">
                                          <p:stCondLst>
                                            <p:cond delay="650"/>
                                          </p:stCondLst>
                                        </p:cTn>
                                        <p:tgtEl>
                                          <p:spTgt spid="135"/>
                                        </p:tgtEl>
                                      </p:cBhvr>
                                      <p:to x="100000" y="60000"/>
                                    </p:animScale>
                                    <p:animScale>
                                      <p:cBhvr>
                                        <p:cTn id="37" dur="166" decel="50000">
                                          <p:stCondLst>
                                            <p:cond delay="676"/>
                                          </p:stCondLst>
                                        </p:cTn>
                                        <p:tgtEl>
                                          <p:spTgt spid="135"/>
                                        </p:tgtEl>
                                      </p:cBhvr>
                                      <p:to x="100000" y="100000"/>
                                    </p:animScale>
                                    <p:animScale>
                                      <p:cBhvr>
                                        <p:cTn id="38" dur="26">
                                          <p:stCondLst>
                                            <p:cond delay="1312"/>
                                          </p:stCondLst>
                                        </p:cTn>
                                        <p:tgtEl>
                                          <p:spTgt spid="135"/>
                                        </p:tgtEl>
                                      </p:cBhvr>
                                      <p:to x="100000" y="80000"/>
                                    </p:animScale>
                                    <p:animScale>
                                      <p:cBhvr>
                                        <p:cTn id="39" dur="166" decel="50000">
                                          <p:stCondLst>
                                            <p:cond delay="1338"/>
                                          </p:stCondLst>
                                        </p:cTn>
                                        <p:tgtEl>
                                          <p:spTgt spid="135"/>
                                        </p:tgtEl>
                                      </p:cBhvr>
                                      <p:to x="100000" y="100000"/>
                                    </p:animScale>
                                    <p:animScale>
                                      <p:cBhvr>
                                        <p:cTn id="40" dur="26">
                                          <p:stCondLst>
                                            <p:cond delay="1642"/>
                                          </p:stCondLst>
                                        </p:cTn>
                                        <p:tgtEl>
                                          <p:spTgt spid="135"/>
                                        </p:tgtEl>
                                      </p:cBhvr>
                                      <p:to x="100000" y="90000"/>
                                    </p:animScale>
                                    <p:animScale>
                                      <p:cBhvr>
                                        <p:cTn id="41" dur="166" decel="50000">
                                          <p:stCondLst>
                                            <p:cond delay="1668"/>
                                          </p:stCondLst>
                                        </p:cTn>
                                        <p:tgtEl>
                                          <p:spTgt spid="135"/>
                                        </p:tgtEl>
                                      </p:cBhvr>
                                      <p:to x="100000" y="100000"/>
                                    </p:animScale>
                                    <p:animScale>
                                      <p:cBhvr>
                                        <p:cTn id="42" dur="26">
                                          <p:stCondLst>
                                            <p:cond delay="1808"/>
                                          </p:stCondLst>
                                        </p:cTn>
                                        <p:tgtEl>
                                          <p:spTgt spid="135"/>
                                        </p:tgtEl>
                                      </p:cBhvr>
                                      <p:to x="100000" y="95000"/>
                                    </p:animScale>
                                    <p:animScale>
                                      <p:cBhvr>
                                        <p:cTn id="43" dur="166" decel="50000">
                                          <p:stCondLst>
                                            <p:cond delay="1834"/>
                                          </p:stCondLst>
                                        </p:cTn>
                                        <p:tgtEl>
                                          <p:spTgt spid="13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26E9F34D-CA56-E968-2F1B-6116C87D3707}"/>
              </a:ext>
            </a:extLst>
          </p:cNvPr>
          <p:cNvSpPr/>
          <p:nvPr/>
        </p:nvSpPr>
        <p:spPr>
          <a:xfrm>
            <a:off x="7731323" y="0"/>
            <a:ext cx="4460677" cy="6858000"/>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2" name="Group 41">
            <a:extLst>
              <a:ext uri="{FF2B5EF4-FFF2-40B4-BE49-F238E27FC236}">
                <a16:creationId xmlns="" xmlns:a16="http://schemas.microsoft.com/office/drawing/2014/main" id="{834D9222-07D7-FE42-9533-EA3727FB14C4}"/>
              </a:ext>
            </a:extLst>
          </p:cNvPr>
          <p:cNvGrpSpPr/>
          <p:nvPr/>
        </p:nvGrpSpPr>
        <p:grpSpPr>
          <a:xfrm>
            <a:off x="188824" y="0"/>
            <a:ext cx="4432958" cy="2063811"/>
            <a:chOff x="237198" y="2656838"/>
            <a:chExt cx="3599524" cy="848135"/>
          </a:xfrm>
        </p:grpSpPr>
        <p:sp>
          <p:nvSpPr>
            <p:cNvPr id="31" name="TextBox 30">
              <a:extLst>
                <a:ext uri="{FF2B5EF4-FFF2-40B4-BE49-F238E27FC236}">
                  <a16:creationId xmlns="" xmlns:a16="http://schemas.microsoft.com/office/drawing/2014/main" id="{20BB0A73-3596-7648-8024-2188A1C88EAD}"/>
                </a:ext>
              </a:extLst>
            </p:cNvPr>
            <p:cNvSpPr txBox="1"/>
            <p:nvPr/>
          </p:nvSpPr>
          <p:spPr>
            <a:xfrm>
              <a:off x="237198" y="2656838"/>
              <a:ext cx="3599524" cy="290910"/>
            </a:xfrm>
            <a:prstGeom prst="rect">
              <a:avLst/>
            </a:prstGeom>
            <a:noFill/>
          </p:spPr>
          <p:txBody>
            <a:bodyPr wrap="square" rtlCol="0">
              <a:spAutoFit/>
            </a:bodyPr>
            <a:lstStyle/>
            <a:p>
              <a:r>
                <a:rPr lang="en-US" sz="4000" b="1" i="1" dirty="0">
                  <a:ln w="9525">
                    <a:solidFill>
                      <a:schemeClr val="bg1"/>
                    </a:solidFill>
                    <a:prstDash val="solid"/>
                  </a:ln>
                  <a:effectLst>
                    <a:outerShdw blurRad="12700" dist="38100" dir="2700000" algn="tl" rotWithShape="0">
                      <a:schemeClr val="bg1">
                        <a:lumMod val="50000"/>
                      </a:schemeClr>
                    </a:outerShdw>
                  </a:effectLst>
                  <a:latin typeface="Segoe UI" panose="020B0502040204020203" pitchFamily="34" charset="0"/>
                  <a:ea typeface="Open Sans" panose="020B0606030504020204" pitchFamily="34" charset="0"/>
                  <a:cs typeface="Segoe UI" panose="020B0502040204020203" pitchFamily="34" charset="0"/>
                </a:rPr>
                <a:t>INTRODUCTION</a:t>
              </a:r>
              <a:endParaRPr lang="id-ID" sz="4000" b="1" spc="-150" dirty="0">
                <a:solidFill>
                  <a:srgbClr val="2AAEE2"/>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2" name="Rectangle 31">
              <a:extLst>
                <a:ext uri="{FF2B5EF4-FFF2-40B4-BE49-F238E27FC236}">
                  <a16:creationId xmlns="" xmlns:a16="http://schemas.microsoft.com/office/drawing/2014/main" id="{3CDEB2A5-F525-5940-93D2-87E95037F248}"/>
                </a:ext>
              </a:extLst>
            </p:cNvPr>
            <p:cNvSpPr>
              <a:spLocks noChangeArrowheads="1"/>
            </p:cNvSpPr>
            <p:nvPr/>
          </p:nvSpPr>
          <p:spPr bwMode="auto">
            <a:xfrm>
              <a:off x="760154" y="3347950"/>
              <a:ext cx="3076567" cy="157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nSpc>
                  <a:spcPct val="150000"/>
                </a:lnSpc>
              </a:pPr>
              <a:endParaRPr lang="en-US" sz="1400" dirty="0">
                <a:latin typeface="Calibri Light" panose="020F0302020204030204"/>
                <a:ea typeface="Open Sans" panose="020B0606030504020204" pitchFamily="34" charset="0"/>
                <a:cs typeface="Open Sans" panose="020B0606030504020204" pitchFamily="34" charset="0"/>
              </a:endParaRPr>
            </a:p>
          </p:txBody>
        </p:sp>
      </p:grpSp>
      <p:grpSp>
        <p:nvGrpSpPr>
          <p:cNvPr id="2" name="Group 1">
            <a:extLst>
              <a:ext uri="{FF2B5EF4-FFF2-40B4-BE49-F238E27FC236}">
                <a16:creationId xmlns="" xmlns:a16="http://schemas.microsoft.com/office/drawing/2014/main" id="{55B313A4-E686-C120-062C-DEC515371346}"/>
              </a:ext>
            </a:extLst>
          </p:cNvPr>
          <p:cNvGrpSpPr/>
          <p:nvPr/>
        </p:nvGrpSpPr>
        <p:grpSpPr>
          <a:xfrm>
            <a:off x="7731323" y="305222"/>
            <a:ext cx="4308078" cy="5498419"/>
            <a:chOff x="7186617" y="496266"/>
            <a:chExt cx="4146043" cy="5603363"/>
          </a:xfrm>
        </p:grpSpPr>
        <p:pic>
          <p:nvPicPr>
            <p:cNvPr id="3" name="Picture 2">
              <a:extLst>
                <a:ext uri="{FF2B5EF4-FFF2-40B4-BE49-F238E27FC236}">
                  <a16:creationId xmlns="" xmlns:a16="http://schemas.microsoft.com/office/drawing/2014/main" id="{76431713-ECBF-4853-A20D-F8B0252DB68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22696" t="4971" r="18819" b="1529"/>
            <a:stretch/>
          </p:blipFill>
          <p:spPr>
            <a:xfrm>
              <a:off x="8662031" y="496266"/>
              <a:ext cx="2670629" cy="2670629"/>
            </a:xfrm>
            <a:custGeom>
              <a:avLst/>
              <a:gdLst>
                <a:gd name="connsiteX0" fmla="*/ 1335315 w 2670629"/>
                <a:gd name="connsiteY0" fmla="*/ 0 h 2670629"/>
                <a:gd name="connsiteX1" fmla="*/ 2670629 w 2670629"/>
                <a:gd name="connsiteY1" fmla="*/ 1335315 h 2670629"/>
                <a:gd name="connsiteX2" fmla="*/ 1335315 w 2670629"/>
                <a:gd name="connsiteY2" fmla="*/ 2670629 h 2670629"/>
                <a:gd name="connsiteX3" fmla="*/ 0 w 2670629"/>
                <a:gd name="connsiteY3" fmla="*/ 1335315 h 2670629"/>
              </a:gdLst>
              <a:ahLst/>
              <a:cxnLst>
                <a:cxn ang="0">
                  <a:pos x="connsiteX0" y="connsiteY0"/>
                </a:cxn>
                <a:cxn ang="0">
                  <a:pos x="connsiteX1" y="connsiteY1"/>
                </a:cxn>
                <a:cxn ang="0">
                  <a:pos x="connsiteX2" y="connsiteY2"/>
                </a:cxn>
                <a:cxn ang="0">
                  <a:pos x="connsiteX3" y="connsiteY3"/>
                </a:cxn>
              </a:cxnLst>
              <a:rect l="l" t="t" r="r" b="b"/>
              <a:pathLst>
                <a:path w="2670629" h="2670629">
                  <a:moveTo>
                    <a:pt x="1335315" y="0"/>
                  </a:moveTo>
                  <a:lnTo>
                    <a:pt x="2670629" y="1335315"/>
                  </a:lnTo>
                  <a:lnTo>
                    <a:pt x="1335315" y="2670629"/>
                  </a:lnTo>
                  <a:lnTo>
                    <a:pt x="0" y="1335315"/>
                  </a:lnTo>
                  <a:close/>
                </a:path>
              </a:pathLst>
            </a:custGeom>
          </p:spPr>
        </p:pic>
        <p:pic>
          <p:nvPicPr>
            <p:cNvPr id="4" name="Picture 3">
              <a:extLst>
                <a:ext uri="{FF2B5EF4-FFF2-40B4-BE49-F238E27FC236}">
                  <a16:creationId xmlns="" xmlns:a16="http://schemas.microsoft.com/office/drawing/2014/main" id="{DDF6A0CB-CB6D-1198-BBDC-E499751AD92F}"/>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28457" t="8687" r="16847" b="9269"/>
            <a:stretch/>
          </p:blipFill>
          <p:spPr>
            <a:xfrm>
              <a:off x="7186617" y="1945863"/>
              <a:ext cx="2670629" cy="2670629"/>
            </a:xfrm>
            <a:custGeom>
              <a:avLst/>
              <a:gdLst>
                <a:gd name="connsiteX0" fmla="*/ 1335315 w 2670629"/>
                <a:gd name="connsiteY0" fmla="*/ 0 h 2670629"/>
                <a:gd name="connsiteX1" fmla="*/ 2670629 w 2670629"/>
                <a:gd name="connsiteY1" fmla="*/ 1335315 h 2670629"/>
                <a:gd name="connsiteX2" fmla="*/ 1335315 w 2670629"/>
                <a:gd name="connsiteY2" fmla="*/ 2670629 h 2670629"/>
                <a:gd name="connsiteX3" fmla="*/ 0 w 2670629"/>
                <a:gd name="connsiteY3" fmla="*/ 1335315 h 2670629"/>
              </a:gdLst>
              <a:ahLst/>
              <a:cxnLst>
                <a:cxn ang="0">
                  <a:pos x="connsiteX0" y="connsiteY0"/>
                </a:cxn>
                <a:cxn ang="0">
                  <a:pos x="connsiteX1" y="connsiteY1"/>
                </a:cxn>
                <a:cxn ang="0">
                  <a:pos x="connsiteX2" y="connsiteY2"/>
                </a:cxn>
                <a:cxn ang="0">
                  <a:pos x="connsiteX3" y="connsiteY3"/>
                </a:cxn>
              </a:cxnLst>
              <a:rect l="l" t="t" r="r" b="b"/>
              <a:pathLst>
                <a:path w="2670629" h="2670629">
                  <a:moveTo>
                    <a:pt x="1335315" y="0"/>
                  </a:moveTo>
                  <a:lnTo>
                    <a:pt x="2670629" y="1335315"/>
                  </a:lnTo>
                  <a:lnTo>
                    <a:pt x="1335315" y="2670629"/>
                  </a:lnTo>
                  <a:lnTo>
                    <a:pt x="0" y="1335315"/>
                  </a:lnTo>
                  <a:close/>
                </a:path>
              </a:pathLst>
            </a:custGeom>
          </p:spPr>
        </p:pic>
        <p:pic>
          <p:nvPicPr>
            <p:cNvPr id="5" name="Picture 4">
              <a:extLst>
                <a:ext uri="{FF2B5EF4-FFF2-40B4-BE49-F238E27FC236}">
                  <a16:creationId xmlns="" xmlns:a16="http://schemas.microsoft.com/office/drawing/2014/main" id="{8C4A8C95-B0CA-CBD6-1E1E-DA63223851C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l="4518" t="13212" r="9269" b="576"/>
            <a:stretch/>
          </p:blipFill>
          <p:spPr>
            <a:xfrm>
              <a:off x="8662030" y="3429000"/>
              <a:ext cx="2670629" cy="2670629"/>
            </a:xfrm>
            <a:custGeom>
              <a:avLst/>
              <a:gdLst>
                <a:gd name="connsiteX0" fmla="*/ 1335315 w 2670629"/>
                <a:gd name="connsiteY0" fmla="*/ 0 h 2670629"/>
                <a:gd name="connsiteX1" fmla="*/ 2670629 w 2670629"/>
                <a:gd name="connsiteY1" fmla="*/ 1335315 h 2670629"/>
                <a:gd name="connsiteX2" fmla="*/ 1335315 w 2670629"/>
                <a:gd name="connsiteY2" fmla="*/ 2670629 h 2670629"/>
                <a:gd name="connsiteX3" fmla="*/ 0 w 2670629"/>
                <a:gd name="connsiteY3" fmla="*/ 1335315 h 2670629"/>
              </a:gdLst>
              <a:ahLst/>
              <a:cxnLst>
                <a:cxn ang="0">
                  <a:pos x="connsiteX0" y="connsiteY0"/>
                </a:cxn>
                <a:cxn ang="0">
                  <a:pos x="connsiteX1" y="connsiteY1"/>
                </a:cxn>
                <a:cxn ang="0">
                  <a:pos x="connsiteX2" y="connsiteY2"/>
                </a:cxn>
                <a:cxn ang="0">
                  <a:pos x="connsiteX3" y="connsiteY3"/>
                </a:cxn>
              </a:cxnLst>
              <a:rect l="l" t="t" r="r" b="b"/>
              <a:pathLst>
                <a:path w="2670629" h="2670629">
                  <a:moveTo>
                    <a:pt x="1335315" y="0"/>
                  </a:moveTo>
                  <a:lnTo>
                    <a:pt x="2670629" y="1335315"/>
                  </a:lnTo>
                  <a:lnTo>
                    <a:pt x="1335315" y="2670629"/>
                  </a:lnTo>
                  <a:lnTo>
                    <a:pt x="0" y="1335315"/>
                  </a:lnTo>
                  <a:close/>
                </a:path>
              </a:pathLst>
            </a:custGeom>
          </p:spPr>
        </p:pic>
      </p:grpSp>
      <p:sp>
        <p:nvSpPr>
          <p:cNvPr id="8" name="TextBox 7">
            <a:extLst>
              <a:ext uri="{FF2B5EF4-FFF2-40B4-BE49-F238E27FC236}">
                <a16:creationId xmlns="" xmlns:a16="http://schemas.microsoft.com/office/drawing/2014/main" id="{F9F9281F-C302-251D-B7B2-6B05961B3AFB}"/>
              </a:ext>
            </a:extLst>
          </p:cNvPr>
          <p:cNvSpPr txBox="1"/>
          <p:nvPr/>
        </p:nvSpPr>
        <p:spPr>
          <a:xfrm>
            <a:off x="92208" y="696168"/>
            <a:ext cx="7486515" cy="6305829"/>
          </a:xfrm>
          <a:prstGeom prst="rect">
            <a:avLst/>
          </a:prstGeom>
          <a:noFill/>
        </p:spPr>
        <p:txBody>
          <a:bodyPr wrap="square">
            <a:spAutoFit/>
          </a:bodyPr>
          <a:lstStyle/>
          <a:p>
            <a:r>
              <a:rPr lang="en-AE" sz="1800" kern="100" dirty="0">
                <a:effectLst/>
                <a:latin typeface="Calibri" panose="020F0502020204030204" pitchFamily="34" charset="0"/>
                <a:ea typeface="Calibri" panose="020F0502020204030204" pitchFamily="34" charset="0"/>
                <a:cs typeface="Kalinga" panose="020B0502040204020203" pitchFamily="34" charset="0"/>
              </a:rPr>
              <a:t>Through this presentation, we aim to provide you with a deeper understanding of dialysis and its impact, as well as highlight potential areas for improvement and further research in this field.</a:t>
            </a:r>
          </a:p>
          <a:p>
            <a:endParaRPr lang="en-AE" sz="1800" kern="100" dirty="0">
              <a:effectLst/>
              <a:latin typeface="Calibri" panose="020F0502020204030204" pitchFamily="34" charset="0"/>
              <a:ea typeface="Calibri" panose="020F0502020204030204" pitchFamily="34" charset="0"/>
              <a:cs typeface="Kalinga" panose="020B0502040204020203" pitchFamily="34" charset="0"/>
            </a:endParaRPr>
          </a:p>
          <a:p>
            <a:r>
              <a:rPr lang="en-AE" sz="1800" b="1" kern="100" dirty="0">
                <a:effectLst/>
                <a:latin typeface="Calibri" panose="020F0502020204030204" pitchFamily="34" charset="0"/>
                <a:ea typeface="Calibri" panose="020F0502020204030204" pitchFamily="34" charset="0"/>
                <a:cs typeface="Kalinga" panose="020B0502040204020203" pitchFamily="34" charset="0"/>
              </a:rPr>
              <a:t>Understanding Dialysis and Its Importance:</a:t>
            </a:r>
          </a:p>
          <a:p>
            <a:endParaRPr lang="en-AE" sz="1800" kern="100" dirty="0">
              <a:effectLst/>
              <a:latin typeface="Calibri" panose="020F0502020204030204" pitchFamily="34" charset="0"/>
              <a:ea typeface="Calibri" panose="020F0502020204030204" pitchFamily="34" charset="0"/>
              <a:cs typeface="Kalinga" panose="020B0502040204020203" pitchFamily="34" charset="0"/>
            </a:endParaRPr>
          </a:p>
          <a:p>
            <a:pPr marL="742950" lvl="1" indent="-285750">
              <a:lnSpc>
                <a:spcPct val="107000"/>
              </a:lnSpc>
              <a:spcAft>
                <a:spcPts val="800"/>
              </a:spcAft>
              <a:buFont typeface="Wingdings" panose="05000000000000000000" pitchFamily="2" charset="2"/>
              <a:buChar char="Ø"/>
            </a:pPr>
            <a:r>
              <a:rPr lang="en-AE" sz="1800" dirty="0">
                <a:effectLst/>
                <a:latin typeface="Calibri" panose="020F0502020204030204" pitchFamily="34" charset="0"/>
                <a:ea typeface="Calibri" panose="020F0502020204030204" pitchFamily="34" charset="0"/>
                <a:cs typeface="Kalinga" panose="020B0502040204020203" pitchFamily="34" charset="0"/>
              </a:rPr>
              <a:t>Dialysis is a life-saving treatment for patients with kidney failure. </a:t>
            </a:r>
          </a:p>
          <a:p>
            <a:pPr marL="742950" lvl="1" indent="-285750">
              <a:lnSpc>
                <a:spcPct val="107000"/>
              </a:lnSpc>
              <a:spcAft>
                <a:spcPts val="80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Kalinga" panose="020B0502040204020203" pitchFamily="34" charset="0"/>
              </a:rPr>
              <a:t>According to the national kidney foundation </a:t>
            </a:r>
            <a:r>
              <a:rPr lang="en-AE" sz="1800" kern="100" dirty="0">
                <a:effectLst/>
                <a:latin typeface="Calibri" panose="020F0502020204030204" pitchFamily="34" charset="0"/>
                <a:ea typeface="Calibri" panose="020F0502020204030204" pitchFamily="34" charset="0"/>
                <a:cs typeface="Kalinga" panose="020B0502040204020203" pitchFamily="34" charset="0"/>
              </a:rPr>
              <a:t>o</a:t>
            </a:r>
            <a:r>
              <a:rPr lang="en-AE" kern="100" dirty="0">
                <a:effectLst/>
                <a:latin typeface="Calibri" panose="020F0502020204030204" pitchFamily="34" charset="0"/>
                <a:ea typeface="Calibri" panose="020F0502020204030204" pitchFamily="34" charset="0"/>
                <a:cs typeface="Kalinga" panose="020B0502040204020203" pitchFamily="34" charset="0"/>
              </a:rPr>
              <a:t>ver 500,000 people in the United States receiving dialysis treatments. </a:t>
            </a:r>
          </a:p>
          <a:p>
            <a:pPr marL="742950" lvl="1" indent="-285750">
              <a:lnSpc>
                <a:spcPct val="107000"/>
              </a:lnSpc>
              <a:spcAft>
                <a:spcPts val="800"/>
              </a:spcAft>
              <a:buFont typeface="Wingdings" panose="05000000000000000000" pitchFamily="2" charset="2"/>
              <a:buChar char="Ø"/>
            </a:pPr>
            <a:r>
              <a:rPr lang="en-AE" kern="100" dirty="0">
                <a:effectLst/>
                <a:latin typeface="Calibri" panose="020F0502020204030204" pitchFamily="34" charset="0"/>
                <a:ea typeface="Calibri" panose="020F0502020204030204" pitchFamily="34" charset="0"/>
                <a:cs typeface="Kalinga" panose="020B0502040204020203" pitchFamily="34" charset="0"/>
              </a:rPr>
              <a:t>This highlights the importance of understanding dialysis and its impact on individuals' lives.</a:t>
            </a:r>
          </a:p>
          <a:p>
            <a:pPr>
              <a:lnSpc>
                <a:spcPct val="107000"/>
              </a:lnSpc>
              <a:spcAft>
                <a:spcPts val="800"/>
              </a:spcAft>
            </a:pPr>
            <a:r>
              <a:rPr lang="en-AE" sz="1800" b="1" kern="100" dirty="0">
                <a:effectLst/>
                <a:latin typeface="Calibri" panose="020F0502020204030204" pitchFamily="34" charset="0"/>
                <a:ea typeface="Calibri" panose="020F0502020204030204" pitchFamily="34" charset="0"/>
                <a:cs typeface="Kalinga" panose="020B0502040204020203" pitchFamily="34" charset="0"/>
              </a:rPr>
              <a:t>Overview of the Dialysis Dataset</a:t>
            </a:r>
            <a:endParaRPr lang="en-AE" sz="1800" kern="100" dirty="0">
              <a:effectLst/>
              <a:latin typeface="Calibri" panose="020F0502020204030204" pitchFamily="34" charset="0"/>
              <a:ea typeface="Calibri" panose="020F0502020204030204" pitchFamily="34" charset="0"/>
              <a:cs typeface="Kalinga" panose="020B0502040204020203" pitchFamily="34" charset="0"/>
            </a:endParaRPr>
          </a:p>
          <a:p>
            <a:pPr marL="742950" lvl="1" indent="-285750">
              <a:lnSpc>
                <a:spcPct val="107000"/>
              </a:lnSpc>
              <a:spcAft>
                <a:spcPts val="800"/>
              </a:spcAft>
              <a:buFont typeface="Wingdings" panose="05000000000000000000" pitchFamily="2" charset="2"/>
              <a:buChar char="Ø"/>
            </a:pPr>
            <a:r>
              <a:rPr lang="en-AE" kern="100" dirty="0">
                <a:effectLst/>
                <a:latin typeface="Calibri" panose="020F0502020204030204" pitchFamily="34" charset="0"/>
                <a:ea typeface="Calibri" panose="020F0502020204030204" pitchFamily="34" charset="0"/>
                <a:cs typeface="Kalinga" panose="020B0502040204020203" pitchFamily="34" charset="0"/>
              </a:rPr>
              <a:t>The dialysis dataset used in this presentation was sourced from multiple healthcare facilities and includes information on patients receiving dialysis treatments. </a:t>
            </a:r>
          </a:p>
          <a:p>
            <a:pPr marL="742950" lvl="1" indent="-285750">
              <a:lnSpc>
                <a:spcPct val="107000"/>
              </a:lnSpc>
              <a:spcAft>
                <a:spcPts val="800"/>
              </a:spcAft>
              <a:buFont typeface="Wingdings" panose="05000000000000000000" pitchFamily="2" charset="2"/>
              <a:buChar char="Ø"/>
            </a:pPr>
            <a:r>
              <a:rPr lang="en-AE" kern="100" dirty="0">
                <a:effectLst/>
                <a:latin typeface="Calibri" panose="020F0502020204030204" pitchFamily="34" charset="0"/>
                <a:ea typeface="Calibri" panose="020F0502020204030204" pitchFamily="34" charset="0"/>
                <a:cs typeface="Kalinga" panose="020B0502040204020203" pitchFamily="34" charset="0"/>
              </a:rPr>
              <a:t>The dataset include medical history and treatment details for the patient.</a:t>
            </a:r>
          </a:p>
          <a:p>
            <a:pPr>
              <a:lnSpc>
                <a:spcPct val="107000"/>
              </a:lnSpc>
              <a:spcAft>
                <a:spcPts val="800"/>
              </a:spcAft>
            </a:pPr>
            <a:endParaRPr lang="en-AE" sz="1800" kern="100" dirty="0">
              <a:effectLst/>
              <a:latin typeface="Calibri" panose="020F0502020204030204" pitchFamily="34" charset="0"/>
              <a:ea typeface="Calibri" panose="020F0502020204030204" pitchFamily="34" charset="0"/>
              <a:cs typeface="Kalinga" panose="020B0502040204020203" pitchFamily="34" charset="0"/>
            </a:endParaRPr>
          </a:p>
          <a:p>
            <a:endParaRPr lang="en-AE"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736591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 xmlns:a16="http://schemas.microsoft.com/office/drawing/2014/main" id="{2145700A-3257-D045-B8F9-361131693AD5}"/>
              </a:ext>
            </a:extLst>
          </p:cNvPr>
          <p:cNvSpPr txBox="1"/>
          <p:nvPr/>
        </p:nvSpPr>
        <p:spPr>
          <a:xfrm>
            <a:off x="714470" y="70800"/>
            <a:ext cx="10595110" cy="707886"/>
          </a:xfrm>
          <a:prstGeom prst="rect">
            <a:avLst/>
          </a:prstGeom>
          <a:noFill/>
        </p:spPr>
        <p:txBody>
          <a:bodyPr wrap="square" rtlCol="0">
            <a:spAutoFit/>
          </a:bodyPr>
          <a:lstStyle/>
          <a:p>
            <a:pPr algn="ctr"/>
            <a:r>
              <a:rPr lang="en-US" sz="4000" b="1" spc="-150" dirty="0">
                <a:solidFill>
                  <a:srgbClr val="2AAEE2"/>
                </a:solidFill>
                <a:latin typeface="Segoe UI" panose="020B0502040204020203" pitchFamily="34" charset="0"/>
                <a:ea typeface="Source Sans Pro" panose="020B0503030403020204" pitchFamily="34" charset="0"/>
                <a:cs typeface="Segoe UI" panose="020B0502040204020203" pitchFamily="34" charset="0"/>
              </a:rPr>
              <a:t>KPI’S</a:t>
            </a:r>
          </a:p>
        </p:txBody>
      </p:sp>
      <p:grpSp>
        <p:nvGrpSpPr>
          <p:cNvPr id="66" name="Group 65">
            <a:extLst>
              <a:ext uri="{FF2B5EF4-FFF2-40B4-BE49-F238E27FC236}">
                <a16:creationId xmlns="" xmlns:a16="http://schemas.microsoft.com/office/drawing/2014/main" id="{BA14AAE1-3D82-D846-B804-46605350D8A4}"/>
              </a:ext>
            </a:extLst>
          </p:cNvPr>
          <p:cNvGrpSpPr/>
          <p:nvPr/>
        </p:nvGrpSpPr>
        <p:grpSpPr>
          <a:xfrm>
            <a:off x="2639791" y="805245"/>
            <a:ext cx="6934200" cy="1979613"/>
            <a:chOff x="2968534" y="2059331"/>
            <a:chExt cx="6934200" cy="1979613"/>
          </a:xfrm>
        </p:grpSpPr>
        <p:sp>
          <p:nvSpPr>
            <p:cNvPr id="34" name="Freeform 581">
              <a:extLst>
                <a:ext uri="{FF2B5EF4-FFF2-40B4-BE49-F238E27FC236}">
                  <a16:creationId xmlns="" xmlns:a16="http://schemas.microsoft.com/office/drawing/2014/main" id="{748F9377-DBE4-E14C-98B4-9283F5684FC1}"/>
                </a:ext>
              </a:extLst>
            </p:cNvPr>
            <p:cNvSpPr>
              <a:spLocks/>
            </p:cNvSpPr>
            <p:nvPr/>
          </p:nvSpPr>
          <p:spPr bwMode="auto">
            <a:xfrm>
              <a:off x="7845334" y="3048344"/>
              <a:ext cx="1981200" cy="990600"/>
            </a:xfrm>
            <a:custGeom>
              <a:avLst/>
              <a:gdLst>
                <a:gd name="T0" fmla="*/ 0 w 1248"/>
                <a:gd name="T1" fmla="*/ 0 h 624"/>
                <a:gd name="T2" fmla="*/ 222 w 1248"/>
                <a:gd name="T3" fmla="*/ 0 h 624"/>
                <a:gd name="T4" fmla="*/ 227 w 1248"/>
                <a:gd name="T5" fmla="*/ 59 h 624"/>
                <a:gd name="T6" fmla="*/ 240 w 1248"/>
                <a:gd name="T7" fmla="*/ 116 h 624"/>
                <a:gd name="T8" fmla="*/ 260 w 1248"/>
                <a:gd name="T9" fmla="*/ 169 h 624"/>
                <a:gd name="T10" fmla="*/ 288 w 1248"/>
                <a:gd name="T11" fmla="*/ 219 h 624"/>
                <a:gd name="T12" fmla="*/ 321 w 1248"/>
                <a:gd name="T13" fmla="*/ 264 h 624"/>
                <a:gd name="T14" fmla="*/ 362 w 1248"/>
                <a:gd name="T15" fmla="*/ 303 h 624"/>
                <a:gd name="T16" fmla="*/ 406 w 1248"/>
                <a:gd name="T17" fmla="*/ 337 h 624"/>
                <a:gd name="T18" fmla="*/ 455 w 1248"/>
                <a:gd name="T19" fmla="*/ 363 h 624"/>
                <a:gd name="T20" fmla="*/ 509 w 1248"/>
                <a:gd name="T21" fmla="*/ 385 h 624"/>
                <a:gd name="T22" fmla="*/ 564 w 1248"/>
                <a:gd name="T23" fmla="*/ 396 h 624"/>
                <a:gd name="T24" fmla="*/ 623 w 1248"/>
                <a:gd name="T25" fmla="*/ 401 h 624"/>
                <a:gd name="T26" fmla="*/ 684 w 1248"/>
                <a:gd name="T27" fmla="*/ 396 h 624"/>
                <a:gd name="T28" fmla="*/ 739 w 1248"/>
                <a:gd name="T29" fmla="*/ 385 h 624"/>
                <a:gd name="T30" fmla="*/ 793 w 1248"/>
                <a:gd name="T31" fmla="*/ 363 h 624"/>
                <a:gd name="T32" fmla="*/ 842 w 1248"/>
                <a:gd name="T33" fmla="*/ 337 h 624"/>
                <a:gd name="T34" fmla="*/ 887 w 1248"/>
                <a:gd name="T35" fmla="*/ 303 h 624"/>
                <a:gd name="T36" fmla="*/ 926 w 1248"/>
                <a:gd name="T37" fmla="*/ 264 h 624"/>
                <a:gd name="T38" fmla="*/ 960 w 1248"/>
                <a:gd name="T39" fmla="*/ 219 h 624"/>
                <a:gd name="T40" fmla="*/ 986 w 1248"/>
                <a:gd name="T41" fmla="*/ 169 h 624"/>
                <a:gd name="T42" fmla="*/ 1008 w 1248"/>
                <a:gd name="T43" fmla="*/ 116 h 624"/>
                <a:gd name="T44" fmla="*/ 1021 w 1248"/>
                <a:gd name="T45" fmla="*/ 59 h 624"/>
                <a:gd name="T46" fmla="*/ 1024 w 1248"/>
                <a:gd name="T47" fmla="*/ 0 h 624"/>
                <a:gd name="T48" fmla="*/ 1248 w 1248"/>
                <a:gd name="T49" fmla="*/ 0 h 624"/>
                <a:gd name="T50" fmla="*/ 1243 w 1248"/>
                <a:gd name="T51" fmla="*/ 79 h 624"/>
                <a:gd name="T52" fmla="*/ 1228 w 1248"/>
                <a:gd name="T53" fmla="*/ 154 h 624"/>
                <a:gd name="T54" fmla="*/ 1206 w 1248"/>
                <a:gd name="T55" fmla="*/ 226 h 624"/>
                <a:gd name="T56" fmla="*/ 1175 w 1248"/>
                <a:gd name="T57" fmla="*/ 293 h 624"/>
                <a:gd name="T58" fmla="*/ 1135 w 1248"/>
                <a:gd name="T59" fmla="*/ 357 h 624"/>
                <a:gd name="T60" fmla="*/ 1089 w 1248"/>
                <a:gd name="T61" fmla="*/ 414 h 624"/>
                <a:gd name="T62" fmla="*/ 1039 w 1248"/>
                <a:gd name="T63" fmla="*/ 466 h 624"/>
                <a:gd name="T64" fmla="*/ 980 w 1248"/>
                <a:gd name="T65" fmla="*/ 512 h 624"/>
                <a:gd name="T66" fmla="*/ 918 w 1248"/>
                <a:gd name="T67" fmla="*/ 552 h 624"/>
                <a:gd name="T68" fmla="*/ 849 w 1248"/>
                <a:gd name="T69" fmla="*/ 583 h 624"/>
                <a:gd name="T70" fmla="*/ 777 w 1248"/>
                <a:gd name="T71" fmla="*/ 606 h 624"/>
                <a:gd name="T72" fmla="*/ 702 w 1248"/>
                <a:gd name="T73" fmla="*/ 619 h 624"/>
                <a:gd name="T74" fmla="*/ 623 w 1248"/>
                <a:gd name="T75" fmla="*/ 624 h 624"/>
                <a:gd name="T76" fmla="*/ 545 w 1248"/>
                <a:gd name="T77" fmla="*/ 619 h 624"/>
                <a:gd name="T78" fmla="*/ 469 w 1248"/>
                <a:gd name="T79" fmla="*/ 606 h 624"/>
                <a:gd name="T80" fmla="*/ 399 w 1248"/>
                <a:gd name="T81" fmla="*/ 583 h 624"/>
                <a:gd name="T82" fmla="*/ 330 w 1248"/>
                <a:gd name="T83" fmla="*/ 552 h 624"/>
                <a:gd name="T84" fmla="*/ 268 w 1248"/>
                <a:gd name="T85" fmla="*/ 512 h 624"/>
                <a:gd name="T86" fmla="*/ 209 w 1248"/>
                <a:gd name="T87" fmla="*/ 466 h 624"/>
                <a:gd name="T88" fmla="*/ 157 w 1248"/>
                <a:gd name="T89" fmla="*/ 414 h 624"/>
                <a:gd name="T90" fmla="*/ 111 w 1248"/>
                <a:gd name="T91" fmla="*/ 357 h 624"/>
                <a:gd name="T92" fmla="*/ 74 w 1248"/>
                <a:gd name="T93" fmla="*/ 293 h 624"/>
                <a:gd name="T94" fmla="*/ 43 w 1248"/>
                <a:gd name="T95" fmla="*/ 226 h 624"/>
                <a:gd name="T96" fmla="*/ 20 w 1248"/>
                <a:gd name="T97" fmla="*/ 154 h 624"/>
                <a:gd name="T98" fmla="*/ 5 w 1248"/>
                <a:gd name="T99" fmla="*/ 79 h 624"/>
                <a:gd name="T100" fmla="*/ 0 w 1248"/>
                <a:gd name="T101"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8" h="624">
                  <a:moveTo>
                    <a:pt x="0" y="0"/>
                  </a:moveTo>
                  <a:lnTo>
                    <a:pt x="222" y="0"/>
                  </a:lnTo>
                  <a:lnTo>
                    <a:pt x="227" y="59"/>
                  </a:lnTo>
                  <a:lnTo>
                    <a:pt x="240" y="116"/>
                  </a:lnTo>
                  <a:lnTo>
                    <a:pt x="260" y="169"/>
                  </a:lnTo>
                  <a:lnTo>
                    <a:pt x="288" y="219"/>
                  </a:lnTo>
                  <a:lnTo>
                    <a:pt x="321" y="264"/>
                  </a:lnTo>
                  <a:lnTo>
                    <a:pt x="362" y="303"/>
                  </a:lnTo>
                  <a:lnTo>
                    <a:pt x="406" y="337"/>
                  </a:lnTo>
                  <a:lnTo>
                    <a:pt x="455" y="363"/>
                  </a:lnTo>
                  <a:lnTo>
                    <a:pt x="509" y="385"/>
                  </a:lnTo>
                  <a:lnTo>
                    <a:pt x="564" y="396"/>
                  </a:lnTo>
                  <a:lnTo>
                    <a:pt x="623" y="401"/>
                  </a:lnTo>
                  <a:lnTo>
                    <a:pt x="684" y="396"/>
                  </a:lnTo>
                  <a:lnTo>
                    <a:pt x="739" y="385"/>
                  </a:lnTo>
                  <a:lnTo>
                    <a:pt x="793" y="363"/>
                  </a:lnTo>
                  <a:lnTo>
                    <a:pt x="842" y="337"/>
                  </a:lnTo>
                  <a:lnTo>
                    <a:pt x="887" y="303"/>
                  </a:lnTo>
                  <a:lnTo>
                    <a:pt x="926" y="264"/>
                  </a:lnTo>
                  <a:lnTo>
                    <a:pt x="960" y="219"/>
                  </a:lnTo>
                  <a:lnTo>
                    <a:pt x="986" y="169"/>
                  </a:lnTo>
                  <a:lnTo>
                    <a:pt x="1008" y="116"/>
                  </a:lnTo>
                  <a:lnTo>
                    <a:pt x="1021" y="59"/>
                  </a:lnTo>
                  <a:lnTo>
                    <a:pt x="1024" y="0"/>
                  </a:lnTo>
                  <a:lnTo>
                    <a:pt x="1248" y="0"/>
                  </a:lnTo>
                  <a:lnTo>
                    <a:pt x="1243" y="79"/>
                  </a:lnTo>
                  <a:lnTo>
                    <a:pt x="1228" y="154"/>
                  </a:lnTo>
                  <a:lnTo>
                    <a:pt x="1206" y="226"/>
                  </a:lnTo>
                  <a:lnTo>
                    <a:pt x="1175" y="293"/>
                  </a:lnTo>
                  <a:lnTo>
                    <a:pt x="1135" y="357"/>
                  </a:lnTo>
                  <a:lnTo>
                    <a:pt x="1089" y="414"/>
                  </a:lnTo>
                  <a:lnTo>
                    <a:pt x="1039" y="466"/>
                  </a:lnTo>
                  <a:lnTo>
                    <a:pt x="980" y="512"/>
                  </a:lnTo>
                  <a:lnTo>
                    <a:pt x="918" y="552"/>
                  </a:lnTo>
                  <a:lnTo>
                    <a:pt x="849" y="583"/>
                  </a:lnTo>
                  <a:lnTo>
                    <a:pt x="777" y="606"/>
                  </a:lnTo>
                  <a:lnTo>
                    <a:pt x="702" y="619"/>
                  </a:lnTo>
                  <a:lnTo>
                    <a:pt x="623" y="624"/>
                  </a:lnTo>
                  <a:lnTo>
                    <a:pt x="545" y="619"/>
                  </a:lnTo>
                  <a:lnTo>
                    <a:pt x="469" y="606"/>
                  </a:lnTo>
                  <a:lnTo>
                    <a:pt x="399" y="583"/>
                  </a:lnTo>
                  <a:lnTo>
                    <a:pt x="330" y="552"/>
                  </a:lnTo>
                  <a:lnTo>
                    <a:pt x="268" y="512"/>
                  </a:lnTo>
                  <a:lnTo>
                    <a:pt x="209" y="466"/>
                  </a:lnTo>
                  <a:lnTo>
                    <a:pt x="157" y="414"/>
                  </a:lnTo>
                  <a:lnTo>
                    <a:pt x="111" y="357"/>
                  </a:lnTo>
                  <a:lnTo>
                    <a:pt x="74" y="293"/>
                  </a:lnTo>
                  <a:lnTo>
                    <a:pt x="43" y="226"/>
                  </a:lnTo>
                  <a:lnTo>
                    <a:pt x="20" y="154"/>
                  </a:lnTo>
                  <a:lnTo>
                    <a:pt x="5" y="79"/>
                  </a:lnTo>
                  <a:lnTo>
                    <a:pt x="0" y="0"/>
                  </a:lnTo>
                  <a:close/>
                </a:path>
              </a:pathLst>
            </a:custGeom>
            <a:solidFill>
              <a:srgbClr val="62A39F">
                <a:lumMod val="75000"/>
              </a:srgbClr>
            </a:solidFill>
            <a:ln w="0">
              <a:solidFill>
                <a:srgbClr val="62A39F">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Freeform 583">
              <a:extLst>
                <a:ext uri="{FF2B5EF4-FFF2-40B4-BE49-F238E27FC236}">
                  <a16:creationId xmlns="" xmlns:a16="http://schemas.microsoft.com/office/drawing/2014/main" id="{8E3556AA-54FB-1B47-8693-118B7FB71451}"/>
                </a:ext>
              </a:extLst>
            </p:cNvPr>
            <p:cNvSpPr>
              <a:spLocks/>
            </p:cNvSpPr>
            <p:nvPr/>
          </p:nvSpPr>
          <p:spPr bwMode="auto">
            <a:xfrm>
              <a:off x="6219734" y="2059331"/>
              <a:ext cx="1978025" cy="989013"/>
            </a:xfrm>
            <a:custGeom>
              <a:avLst/>
              <a:gdLst>
                <a:gd name="T0" fmla="*/ 623 w 1246"/>
                <a:gd name="T1" fmla="*/ 0 h 623"/>
                <a:gd name="T2" fmla="*/ 702 w 1246"/>
                <a:gd name="T3" fmla="*/ 5 h 623"/>
                <a:gd name="T4" fmla="*/ 777 w 1246"/>
                <a:gd name="T5" fmla="*/ 19 h 623"/>
                <a:gd name="T6" fmla="*/ 849 w 1246"/>
                <a:gd name="T7" fmla="*/ 42 h 623"/>
                <a:gd name="T8" fmla="*/ 916 w 1246"/>
                <a:gd name="T9" fmla="*/ 73 h 623"/>
                <a:gd name="T10" fmla="*/ 980 w 1246"/>
                <a:gd name="T11" fmla="*/ 111 h 623"/>
                <a:gd name="T12" fmla="*/ 1037 w 1246"/>
                <a:gd name="T13" fmla="*/ 157 h 623"/>
                <a:gd name="T14" fmla="*/ 1089 w 1246"/>
                <a:gd name="T15" fmla="*/ 209 h 623"/>
                <a:gd name="T16" fmla="*/ 1135 w 1246"/>
                <a:gd name="T17" fmla="*/ 266 h 623"/>
                <a:gd name="T18" fmla="*/ 1175 w 1246"/>
                <a:gd name="T19" fmla="*/ 330 h 623"/>
                <a:gd name="T20" fmla="*/ 1206 w 1246"/>
                <a:gd name="T21" fmla="*/ 397 h 623"/>
                <a:gd name="T22" fmla="*/ 1229 w 1246"/>
                <a:gd name="T23" fmla="*/ 469 h 623"/>
                <a:gd name="T24" fmla="*/ 1242 w 1246"/>
                <a:gd name="T25" fmla="*/ 545 h 623"/>
                <a:gd name="T26" fmla="*/ 1246 w 1246"/>
                <a:gd name="T27" fmla="*/ 623 h 623"/>
                <a:gd name="T28" fmla="*/ 1024 w 1246"/>
                <a:gd name="T29" fmla="*/ 623 h 623"/>
                <a:gd name="T30" fmla="*/ 1019 w 1246"/>
                <a:gd name="T31" fmla="*/ 564 h 623"/>
                <a:gd name="T32" fmla="*/ 1008 w 1246"/>
                <a:gd name="T33" fmla="*/ 507 h 623"/>
                <a:gd name="T34" fmla="*/ 986 w 1246"/>
                <a:gd name="T35" fmla="*/ 455 h 623"/>
                <a:gd name="T36" fmla="*/ 960 w 1246"/>
                <a:gd name="T37" fmla="*/ 405 h 623"/>
                <a:gd name="T38" fmla="*/ 926 w 1246"/>
                <a:gd name="T39" fmla="*/ 360 h 623"/>
                <a:gd name="T40" fmla="*/ 887 w 1246"/>
                <a:gd name="T41" fmla="*/ 320 h 623"/>
                <a:gd name="T42" fmla="*/ 842 w 1246"/>
                <a:gd name="T43" fmla="*/ 288 h 623"/>
                <a:gd name="T44" fmla="*/ 792 w 1246"/>
                <a:gd name="T45" fmla="*/ 260 h 623"/>
                <a:gd name="T46" fmla="*/ 739 w 1246"/>
                <a:gd name="T47" fmla="*/ 240 h 623"/>
                <a:gd name="T48" fmla="*/ 682 w 1246"/>
                <a:gd name="T49" fmla="*/ 227 h 623"/>
                <a:gd name="T50" fmla="*/ 623 w 1246"/>
                <a:gd name="T51" fmla="*/ 222 h 623"/>
                <a:gd name="T52" fmla="*/ 564 w 1246"/>
                <a:gd name="T53" fmla="*/ 227 h 623"/>
                <a:gd name="T54" fmla="*/ 507 w 1246"/>
                <a:gd name="T55" fmla="*/ 240 h 623"/>
                <a:gd name="T56" fmla="*/ 455 w 1246"/>
                <a:gd name="T57" fmla="*/ 260 h 623"/>
                <a:gd name="T58" fmla="*/ 406 w 1246"/>
                <a:gd name="T59" fmla="*/ 288 h 623"/>
                <a:gd name="T60" fmla="*/ 360 w 1246"/>
                <a:gd name="T61" fmla="*/ 320 h 623"/>
                <a:gd name="T62" fmla="*/ 321 w 1246"/>
                <a:gd name="T63" fmla="*/ 360 h 623"/>
                <a:gd name="T64" fmla="*/ 288 w 1246"/>
                <a:gd name="T65" fmla="*/ 405 h 623"/>
                <a:gd name="T66" fmla="*/ 260 w 1246"/>
                <a:gd name="T67" fmla="*/ 455 h 623"/>
                <a:gd name="T68" fmla="*/ 241 w 1246"/>
                <a:gd name="T69" fmla="*/ 507 h 623"/>
                <a:gd name="T70" fmla="*/ 227 w 1246"/>
                <a:gd name="T71" fmla="*/ 564 h 623"/>
                <a:gd name="T72" fmla="*/ 223 w 1246"/>
                <a:gd name="T73" fmla="*/ 623 h 623"/>
                <a:gd name="T74" fmla="*/ 0 w 1246"/>
                <a:gd name="T75" fmla="*/ 623 h 623"/>
                <a:gd name="T76" fmla="*/ 5 w 1246"/>
                <a:gd name="T77" fmla="*/ 545 h 623"/>
                <a:gd name="T78" fmla="*/ 20 w 1246"/>
                <a:gd name="T79" fmla="*/ 469 h 623"/>
                <a:gd name="T80" fmla="*/ 43 w 1246"/>
                <a:gd name="T81" fmla="*/ 397 h 623"/>
                <a:gd name="T82" fmla="*/ 74 w 1246"/>
                <a:gd name="T83" fmla="*/ 330 h 623"/>
                <a:gd name="T84" fmla="*/ 111 w 1246"/>
                <a:gd name="T85" fmla="*/ 266 h 623"/>
                <a:gd name="T86" fmla="*/ 157 w 1246"/>
                <a:gd name="T87" fmla="*/ 209 h 623"/>
                <a:gd name="T88" fmla="*/ 209 w 1246"/>
                <a:gd name="T89" fmla="*/ 157 h 623"/>
                <a:gd name="T90" fmla="*/ 267 w 1246"/>
                <a:gd name="T91" fmla="*/ 111 h 623"/>
                <a:gd name="T92" fmla="*/ 330 w 1246"/>
                <a:gd name="T93" fmla="*/ 73 h 623"/>
                <a:gd name="T94" fmla="*/ 398 w 1246"/>
                <a:gd name="T95" fmla="*/ 42 h 623"/>
                <a:gd name="T96" fmla="*/ 470 w 1246"/>
                <a:gd name="T97" fmla="*/ 19 h 623"/>
                <a:gd name="T98" fmla="*/ 545 w 1246"/>
                <a:gd name="T99" fmla="*/ 5 h 623"/>
                <a:gd name="T100" fmla="*/ 623 w 1246"/>
                <a:gd name="T101" fmla="*/ 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6" h="623">
                  <a:moveTo>
                    <a:pt x="623" y="0"/>
                  </a:moveTo>
                  <a:lnTo>
                    <a:pt x="702" y="5"/>
                  </a:lnTo>
                  <a:lnTo>
                    <a:pt x="777" y="19"/>
                  </a:lnTo>
                  <a:lnTo>
                    <a:pt x="849" y="42"/>
                  </a:lnTo>
                  <a:lnTo>
                    <a:pt x="916" y="73"/>
                  </a:lnTo>
                  <a:lnTo>
                    <a:pt x="980" y="111"/>
                  </a:lnTo>
                  <a:lnTo>
                    <a:pt x="1037" y="157"/>
                  </a:lnTo>
                  <a:lnTo>
                    <a:pt x="1089" y="209"/>
                  </a:lnTo>
                  <a:lnTo>
                    <a:pt x="1135" y="266"/>
                  </a:lnTo>
                  <a:lnTo>
                    <a:pt x="1175" y="330"/>
                  </a:lnTo>
                  <a:lnTo>
                    <a:pt x="1206" y="397"/>
                  </a:lnTo>
                  <a:lnTo>
                    <a:pt x="1229" y="469"/>
                  </a:lnTo>
                  <a:lnTo>
                    <a:pt x="1242" y="545"/>
                  </a:lnTo>
                  <a:lnTo>
                    <a:pt x="1246" y="623"/>
                  </a:lnTo>
                  <a:lnTo>
                    <a:pt x="1024" y="623"/>
                  </a:lnTo>
                  <a:lnTo>
                    <a:pt x="1019" y="564"/>
                  </a:lnTo>
                  <a:lnTo>
                    <a:pt x="1008" y="507"/>
                  </a:lnTo>
                  <a:lnTo>
                    <a:pt x="986" y="455"/>
                  </a:lnTo>
                  <a:lnTo>
                    <a:pt x="960" y="405"/>
                  </a:lnTo>
                  <a:lnTo>
                    <a:pt x="926" y="360"/>
                  </a:lnTo>
                  <a:lnTo>
                    <a:pt x="887" y="320"/>
                  </a:lnTo>
                  <a:lnTo>
                    <a:pt x="842" y="288"/>
                  </a:lnTo>
                  <a:lnTo>
                    <a:pt x="792" y="260"/>
                  </a:lnTo>
                  <a:lnTo>
                    <a:pt x="739" y="240"/>
                  </a:lnTo>
                  <a:lnTo>
                    <a:pt x="682" y="227"/>
                  </a:lnTo>
                  <a:lnTo>
                    <a:pt x="623" y="222"/>
                  </a:lnTo>
                  <a:lnTo>
                    <a:pt x="564" y="227"/>
                  </a:lnTo>
                  <a:lnTo>
                    <a:pt x="507" y="240"/>
                  </a:lnTo>
                  <a:lnTo>
                    <a:pt x="455" y="260"/>
                  </a:lnTo>
                  <a:lnTo>
                    <a:pt x="406" y="288"/>
                  </a:lnTo>
                  <a:lnTo>
                    <a:pt x="360" y="320"/>
                  </a:lnTo>
                  <a:lnTo>
                    <a:pt x="321" y="360"/>
                  </a:lnTo>
                  <a:lnTo>
                    <a:pt x="288" y="405"/>
                  </a:lnTo>
                  <a:lnTo>
                    <a:pt x="260" y="455"/>
                  </a:lnTo>
                  <a:lnTo>
                    <a:pt x="241" y="507"/>
                  </a:lnTo>
                  <a:lnTo>
                    <a:pt x="227" y="564"/>
                  </a:lnTo>
                  <a:lnTo>
                    <a:pt x="223" y="623"/>
                  </a:lnTo>
                  <a:lnTo>
                    <a:pt x="0" y="623"/>
                  </a:lnTo>
                  <a:lnTo>
                    <a:pt x="5" y="545"/>
                  </a:lnTo>
                  <a:lnTo>
                    <a:pt x="20" y="469"/>
                  </a:lnTo>
                  <a:lnTo>
                    <a:pt x="43" y="397"/>
                  </a:lnTo>
                  <a:lnTo>
                    <a:pt x="74" y="330"/>
                  </a:lnTo>
                  <a:lnTo>
                    <a:pt x="111" y="266"/>
                  </a:lnTo>
                  <a:lnTo>
                    <a:pt x="157" y="209"/>
                  </a:lnTo>
                  <a:lnTo>
                    <a:pt x="209" y="157"/>
                  </a:lnTo>
                  <a:lnTo>
                    <a:pt x="267" y="111"/>
                  </a:lnTo>
                  <a:lnTo>
                    <a:pt x="330" y="73"/>
                  </a:lnTo>
                  <a:lnTo>
                    <a:pt x="398" y="42"/>
                  </a:lnTo>
                  <a:lnTo>
                    <a:pt x="470" y="19"/>
                  </a:lnTo>
                  <a:lnTo>
                    <a:pt x="545" y="5"/>
                  </a:lnTo>
                  <a:lnTo>
                    <a:pt x="623" y="0"/>
                  </a:lnTo>
                  <a:close/>
                </a:path>
              </a:pathLst>
            </a:custGeom>
            <a:solidFill>
              <a:srgbClr val="3E8853">
                <a:lumMod val="75000"/>
              </a:srgbClr>
            </a:solidFill>
            <a:ln w="0">
              <a:solidFill>
                <a:srgbClr val="3E8853">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Freeform 585">
              <a:extLst>
                <a:ext uri="{FF2B5EF4-FFF2-40B4-BE49-F238E27FC236}">
                  <a16:creationId xmlns="" xmlns:a16="http://schemas.microsoft.com/office/drawing/2014/main" id="{0CCF5A63-8858-AD43-964A-1B2A1B54B1BB}"/>
                </a:ext>
              </a:extLst>
            </p:cNvPr>
            <p:cNvSpPr>
              <a:spLocks/>
            </p:cNvSpPr>
            <p:nvPr/>
          </p:nvSpPr>
          <p:spPr bwMode="auto">
            <a:xfrm>
              <a:off x="4594134" y="3048344"/>
              <a:ext cx="1979613" cy="990600"/>
            </a:xfrm>
            <a:custGeom>
              <a:avLst/>
              <a:gdLst>
                <a:gd name="T0" fmla="*/ 0 w 1247"/>
                <a:gd name="T1" fmla="*/ 0 h 624"/>
                <a:gd name="T2" fmla="*/ 223 w 1247"/>
                <a:gd name="T3" fmla="*/ 0 h 624"/>
                <a:gd name="T4" fmla="*/ 227 w 1247"/>
                <a:gd name="T5" fmla="*/ 59 h 624"/>
                <a:gd name="T6" fmla="*/ 239 w 1247"/>
                <a:gd name="T7" fmla="*/ 116 h 624"/>
                <a:gd name="T8" fmla="*/ 260 w 1247"/>
                <a:gd name="T9" fmla="*/ 169 h 624"/>
                <a:gd name="T10" fmla="*/ 288 w 1247"/>
                <a:gd name="T11" fmla="*/ 219 h 624"/>
                <a:gd name="T12" fmla="*/ 321 w 1247"/>
                <a:gd name="T13" fmla="*/ 264 h 624"/>
                <a:gd name="T14" fmla="*/ 360 w 1247"/>
                <a:gd name="T15" fmla="*/ 303 h 624"/>
                <a:gd name="T16" fmla="*/ 406 w 1247"/>
                <a:gd name="T17" fmla="*/ 337 h 624"/>
                <a:gd name="T18" fmla="*/ 455 w 1247"/>
                <a:gd name="T19" fmla="*/ 363 h 624"/>
                <a:gd name="T20" fmla="*/ 507 w 1247"/>
                <a:gd name="T21" fmla="*/ 385 h 624"/>
                <a:gd name="T22" fmla="*/ 564 w 1247"/>
                <a:gd name="T23" fmla="*/ 396 h 624"/>
                <a:gd name="T24" fmla="*/ 623 w 1247"/>
                <a:gd name="T25" fmla="*/ 401 h 624"/>
                <a:gd name="T26" fmla="*/ 682 w 1247"/>
                <a:gd name="T27" fmla="*/ 396 h 624"/>
                <a:gd name="T28" fmla="*/ 739 w 1247"/>
                <a:gd name="T29" fmla="*/ 385 h 624"/>
                <a:gd name="T30" fmla="*/ 792 w 1247"/>
                <a:gd name="T31" fmla="*/ 363 h 624"/>
                <a:gd name="T32" fmla="*/ 841 w 1247"/>
                <a:gd name="T33" fmla="*/ 337 h 624"/>
                <a:gd name="T34" fmla="*/ 887 w 1247"/>
                <a:gd name="T35" fmla="*/ 303 h 624"/>
                <a:gd name="T36" fmla="*/ 926 w 1247"/>
                <a:gd name="T37" fmla="*/ 264 h 624"/>
                <a:gd name="T38" fmla="*/ 959 w 1247"/>
                <a:gd name="T39" fmla="*/ 219 h 624"/>
                <a:gd name="T40" fmla="*/ 986 w 1247"/>
                <a:gd name="T41" fmla="*/ 169 h 624"/>
                <a:gd name="T42" fmla="*/ 1008 w 1247"/>
                <a:gd name="T43" fmla="*/ 116 h 624"/>
                <a:gd name="T44" fmla="*/ 1019 w 1247"/>
                <a:gd name="T45" fmla="*/ 59 h 624"/>
                <a:gd name="T46" fmla="*/ 1024 w 1247"/>
                <a:gd name="T47" fmla="*/ 0 h 624"/>
                <a:gd name="T48" fmla="*/ 1247 w 1247"/>
                <a:gd name="T49" fmla="*/ 0 h 624"/>
                <a:gd name="T50" fmla="*/ 1242 w 1247"/>
                <a:gd name="T51" fmla="*/ 79 h 624"/>
                <a:gd name="T52" fmla="*/ 1229 w 1247"/>
                <a:gd name="T53" fmla="*/ 154 h 624"/>
                <a:gd name="T54" fmla="*/ 1206 w 1247"/>
                <a:gd name="T55" fmla="*/ 226 h 624"/>
                <a:gd name="T56" fmla="*/ 1175 w 1247"/>
                <a:gd name="T57" fmla="*/ 293 h 624"/>
                <a:gd name="T58" fmla="*/ 1135 w 1247"/>
                <a:gd name="T59" fmla="*/ 357 h 624"/>
                <a:gd name="T60" fmla="*/ 1089 w 1247"/>
                <a:gd name="T61" fmla="*/ 414 h 624"/>
                <a:gd name="T62" fmla="*/ 1037 w 1247"/>
                <a:gd name="T63" fmla="*/ 466 h 624"/>
                <a:gd name="T64" fmla="*/ 980 w 1247"/>
                <a:gd name="T65" fmla="*/ 512 h 624"/>
                <a:gd name="T66" fmla="*/ 916 w 1247"/>
                <a:gd name="T67" fmla="*/ 552 h 624"/>
                <a:gd name="T68" fmla="*/ 849 w 1247"/>
                <a:gd name="T69" fmla="*/ 583 h 624"/>
                <a:gd name="T70" fmla="*/ 777 w 1247"/>
                <a:gd name="T71" fmla="*/ 606 h 624"/>
                <a:gd name="T72" fmla="*/ 702 w 1247"/>
                <a:gd name="T73" fmla="*/ 619 h 624"/>
                <a:gd name="T74" fmla="*/ 623 w 1247"/>
                <a:gd name="T75" fmla="*/ 624 h 624"/>
                <a:gd name="T76" fmla="*/ 545 w 1247"/>
                <a:gd name="T77" fmla="*/ 619 h 624"/>
                <a:gd name="T78" fmla="*/ 470 w 1247"/>
                <a:gd name="T79" fmla="*/ 606 h 624"/>
                <a:gd name="T80" fmla="*/ 398 w 1247"/>
                <a:gd name="T81" fmla="*/ 583 h 624"/>
                <a:gd name="T82" fmla="*/ 330 w 1247"/>
                <a:gd name="T83" fmla="*/ 552 h 624"/>
                <a:gd name="T84" fmla="*/ 267 w 1247"/>
                <a:gd name="T85" fmla="*/ 512 h 624"/>
                <a:gd name="T86" fmla="*/ 209 w 1247"/>
                <a:gd name="T87" fmla="*/ 466 h 624"/>
                <a:gd name="T88" fmla="*/ 157 w 1247"/>
                <a:gd name="T89" fmla="*/ 414 h 624"/>
                <a:gd name="T90" fmla="*/ 111 w 1247"/>
                <a:gd name="T91" fmla="*/ 357 h 624"/>
                <a:gd name="T92" fmla="*/ 72 w 1247"/>
                <a:gd name="T93" fmla="*/ 293 h 624"/>
                <a:gd name="T94" fmla="*/ 41 w 1247"/>
                <a:gd name="T95" fmla="*/ 226 h 624"/>
                <a:gd name="T96" fmla="*/ 18 w 1247"/>
                <a:gd name="T97" fmla="*/ 154 h 624"/>
                <a:gd name="T98" fmla="*/ 5 w 1247"/>
                <a:gd name="T99" fmla="*/ 79 h 624"/>
                <a:gd name="T100" fmla="*/ 0 w 1247"/>
                <a:gd name="T101"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7" h="624">
                  <a:moveTo>
                    <a:pt x="0" y="0"/>
                  </a:moveTo>
                  <a:lnTo>
                    <a:pt x="223" y="0"/>
                  </a:lnTo>
                  <a:lnTo>
                    <a:pt x="227" y="59"/>
                  </a:lnTo>
                  <a:lnTo>
                    <a:pt x="239" y="116"/>
                  </a:lnTo>
                  <a:lnTo>
                    <a:pt x="260" y="169"/>
                  </a:lnTo>
                  <a:lnTo>
                    <a:pt x="288" y="219"/>
                  </a:lnTo>
                  <a:lnTo>
                    <a:pt x="321" y="264"/>
                  </a:lnTo>
                  <a:lnTo>
                    <a:pt x="360" y="303"/>
                  </a:lnTo>
                  <a:lnTo>
                    <a:pt x="406" y="337"/>
                  </a:lnTo>
                  <a:lnTo>
                    <a:pt x="455" y="363"/>
                  </a:lnTo>
                  <a:lnTo>
                    <a:pt x="507" y="385"/>
                  </a:lnTo>
                  <a:lnTo>
                    <a:pt x="564" y="396"/>
                  </a:lnTo>
                  <a:lnTo>
                    <a:pt x="623" y="401"/>
                  </a:lnTo>
                  <a:lnTo>
                    <a:pt x="682" y="396"/>
                  </a:lnTo>
                  <a:lnTo>
                    <a:pt x="739" y="385"/>
                  </a:lnTo>
                  <a:lnTo>
                    <a:pt x="792" y="363"/>
                  </a:lnTo>
                  <a:lnTo>
                    <a:pt x="841" y="337"/>
                  </a:lnTo>
                  <a:lnTo>
                    <a:pt x="887" y="303"/>
                  </a:lnTo>
                  <a:lnTo>
                    <a:pt x="926" y="264"/>
                  </a:lnTo>
                  <a:lnTo>
                    <a:pt x="959" y="219"/>
                  </a:lnTo>
                  <a:lnTo>
                    <a:pt x="986" y="169"/>
                  </a:lnTo>
                  <a:lnTo>
                    <a:pt x="1008" y="116"/>
                  </a:lnTo>
                  <a:lnTo>
                    <a:pt x="1019" y="59"/>
                  </a:lnTo>
                  <a:lnTo>
                    <a:pt x="1024" y="0"/>
                  </a:lnTo>
                  <a:lnTo>
                    <a:pt x="1247" y="0"/>
                  </a:lnTo>
                  <a:lnTo>
                    <a:pt x="1242" y="79"/>
                  </a:lnTo>
                  <a:lnTo>
                    <a:pt x="1229" y="154"/>
                  </a:lnTo>
                  <a:lnTo>
                    <a:pt x="1206" y="226"/>
                  </a:lnTo>
                  <a:lnTo>
                    <a:pt x="1175" y="293"/>
                  </a:lnTo>
                  <a:lnTo>
                    <a:pt x="1135" y="357"/>
                  </a:lnTo>
                  <a:lnTo>
                    <a:pt x="1089" y="414"/>
                  </a:lnTo>
                  <a:lnTo>
                    <a:pt x="1037" y="466"/>
                  </a:lnTo>
                  <a:lnTo>
                    <a:pt x="980" y="512"/>
                  </a:lnTo>
                  <a:lnTo>
                    <a:pt x="916" y="552"/>
                  </a:lnTo>
                  <a:lnTo>
                    <a:pt x="849" y="583"/>
                  </a:lnTo>
                  <a:lnTo>
                    <a:pt x="777" y="606"/>
                  </a:lnTo>
                  <a:lnTo>
                    <a:pt x="702" y="619"/>
                  </a:lnTo>
                  <a:lnTo>
                    <a:pt x="623" y="624"/>
                  </a:lnTo>
                  <a:lnTo>
                    <a:pt x="545" y="619"/>
                  </a:lnTo>
                  <a:lnTo>
                    <a:pt x="470" y="606"/>
                  </a:lnTo>
                  <a:lnTo>
                    <a:pt x="398" y="583"/>
                  </a:lnTo>
                  <a:lnTo>
                    <a:pt x="330" y="552"/>
                  </a:lnTo>
                  <a:lnTo>
                    <a:pt x="267" y="512"/>
                  </a:lnTo>
                  <a:lnTo>
                    <a:pt x="209" y="466"/>
                  </a:lnTo>
                  <a:lnTo>
                    <a:pt x="157" y="414"/>
                  </a:lnTo>
                  <a:lnTo>
                    <a:pt x="111" y="357"/>
                  </a:lnTo>
                  <a:lnTo>
                    <a:pt x="72" y="293"/>
                  </a:lnTo>
                  <a:lnTo>
                    <a:pt x="41" y="226"/>
                  </a:lnTo>
                  <a:lnTo>
                    <a:pt x="18" y="154"/>
                  </a:lnTo>
                  <a:lnTo>
                    <a:pt x="5" y="79"/>
                  </a:lnTo>
                  <a:lnTo>
                    <a:pt x="0" y="0"/>
                  </a:lnTo>
                  <a:close/>
                </a:path>
              </a:pathLst>
            </a:custGeom>
            <a:solidFill>
              <a:srgbClr val="42BA97">
                <a:lumMod val="75000"/>
              </a:srgbClr>
            </a:solidFill>
            <a:ln w="0">
              <a:solidFill>
                <a:srgbClr val="42BA97">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Freeform 587">
              <a:extLst>
                <a:ext uri="{FF2B5EF4-FFF2-40B4-BE49-F238E27FC236}">
                  <a16:creationId xmlns="" xmlns:a16="http://schemas.microsoft.com/office/drawing/2014/main" id="{AF62E8D2-51C6-8347-9D83-81E9DC4F27CA}"/>
                </a:ext>
              </a:extLst>
            </p:cNvPr>
            <p:cNvSpPr>
              <a:spLocks/>
            </p:cNvSpPr>
            <p:nvPr/>
          </p:nvSpPr>
          <p:spPr bwMode="auto">
            <a:xfrm>
              <a:off x="2968534" y="2059331"/>
              <a:ext cx="1979613" cy="989013"/>
            </a:xfrm>
            <a:custGeom>
              <a:avLst/>
              <a:gdLst>
                <a:gd name="T0" fmla="*/ 623 w 1247"/>
                <a:gd name="T1" fmla="*/ 0 h 623"/>
                <a:gd name="T2" fmla="*/ 702 w 1247"/>
                <a:gd name="T3" fmla="*/ 5 h 623"/>
                <a:gd name="T4" fmla="*/ 777 w 1247"/>
                <a:gd name="T5" fmla="*/ 19 h 623"/>
                <a:gd name="T6" fmla="*/ 849 w 1247"/>
                <a:gd name="T7" fmla="*/ 42 h 623"/>
                <a:gd name="T8" fmla="*/ 916 w 1247"/>
                <a:gd name="T9" fmla="*/ 73 h 623"/>
                <a:gd name="T10" fmla="*/ 980 w 1247"/>
                <a:gd name="T11" fmla="*/ 111 h 623"/>
                <a:gd name="T12" fmla="*/ 1037 w 1247"/>
                <a:gd name="T13" fmla="*/ 157 h 623"/>
                <a:gd name="T14" fmla="*/ 1089 w 1247"/>
                <a:gd name="T15" fmla="*/ 209 h 623"/>
                <a:gd name="T16" fmla="*/ 1135 w 1247"/>
                <a:gd name="T17" fmla="*/ 266 h 623"/>
                <a:gd name="T18" fmla="*/ 1173 w 1247"/>
                <a:gd name="T19" fmla="*/ 330 h 623"/>
                <a:gd name="T20" fmla="*/ 1204 w 1247"/>
                <a:gd name="T21" fmla="*/ 397 h 623"/>
                <a:gd name="T22" fmla="*/ 1227 w 1247"/>
                <a:gd name="T23" fmla="*/ 469 h 623"/>
                <a:gd name="T24" fmla="*/ 1242 w 1247"/>
                <a:gd name="T25" fmla="*/ 545 h 623"/>
                <a:gd name="T26" fmla="*/ 1247 w 1247"/>
                <a:gd name="T27" fmla="*/ 623 h 623"/>
                <a:gd name="T28" fmla="*/ 1024 w 1247"/>
                <a:gd name="T29" fmla="*/ 623 h 623"/>
                <a:gd name="T30" fmla="*/ 1019 w 1247"/>
                <a:gd name="T31" fmla="*/ 564 h 623"/>
                <a:gd name="T32" fmla="*/ 1006 w 1247"/>
                <a:gd name="T33" fmla="*/ 507 h 623"/>
                <a:gd name="T34" fmla="*/ 986 w 1247"/>
                <a:gd name="T35" fmla="*/ 455 h 623"/>
                <a:gd name="T36" fmla="*/ 959 w 1247"/>
                <a:gd name="T37" fmla="*/ 405 h 623"/>
                <a:gd name="T38" fmla="*/ 926 w 1247"/>
                <a:gd name="T39" fmla="*/ 360 h 623"/>
                <a:gd name="T40" fmla="*/ 887 w 1247"/>
                <a:gd name="T41" fmla="*/ 320 h 623"/>
                <a:gd name="T42" fmla="*/ 841 w 1247"/>
                <a:gd name="T43" fmla="*/ 288 h 623"/>
                <a:gd name="T44" fmla="*/ 792 w 1247"/>
                <a:gd name="T45" fmla="*/ 260 h 623"/>
                <a:gd name="T46" fmla="*/ 739 w 1247"/>
                <a:gd name="T47" fmla="*/ 240 h 623"/>
                <a:gd name="T48" fmla="*/ 682 w 1247"/>
                <a:gd name="T49" fmla="*/ 227 h 623"/>
                <a:gd name="T50" fmla="*/ 623 w 1247"/>
                <a:gd name="T51" fmla="*/ 222 h 623"/>
                <a:gd name="T52" fmla="*/ 564 w 1247"/>
                <a:gd name="T53" fmla="*/ 227 h 623"/>
                <a:gd name="T54" fmla="*/ 507 w 1247"/>
                <a:gd name="T55" fmla="*/ 240 h 623"/>
                <a:gd name="T56" fmla="*/ 455 w 1247"/>
                <a:gd name="T57" fmla="*/ 260 h 623"/>
                <a:gd name="T58" fmla="*/ 404 w 1247"/>
                <a:gd name="T59" fmla="*/ 288 h 623"/>
                <a:gd name="T60" fmla="*/ 360 w 1247"/>
                <a:gd name="T61" fmla="*/ 320 h 623"/>
                <a:gd name="T62" fmla="*/ 321 w 1247"/>
                <a:gd name="T63" fmla="*/ 360 h 623"/>
                <a:gd name="T64" fmla="*/ 286 w 1247"/>
                <a:gd name="T65" fmla="*/ 405 h 623"/>
                <a:gd name="T66" fmla="*/ 260 w 1247"/>
                <a:gd name="T67" fmla="*/ 455 h 623"/>
                <a:gd name="T68" fmla="*/ 239 w 1247"/>
                <a:gd name="T69" fmla="*/ 507 h 623"/>
                <a:gd name="T70" fmla="*/ 227 w 1247"/>
                <a:gd name="T71" fmla="*/ 564 h 623"/>
                <a:gd name="T72" fmla="*/ 223 w 1247"/>
                <a:gd name="T73" fmla="*/ 623 h 623"/>
                <a:gd name="T74" fmla="*/ 0 w 1247"/>
                <a:gd name="T75" fmla="*/ 623 h 623"/>
                <a:gd name="T76" fmla="*/ 5 w 1247"/>
                <a:gd name="T77" fmla="*/ 545 h 623"/>
                <a:gd name="T78" fmla="*/ 18 w 1247"/>
                <a:gd name="T79" fmla="*/ 469 h 623"/>
                <a:gd name="T80" fmla="*/ 41 w 1247"/>
                <a:gd name="T81" fmla="*/ 397 h 623"/>
                <a:gd name="T82" fmla="*/ 72 w 1247"/>
                <a:gd name="T83" fmla="*/ 330 h 623"/>
                <a:gd name="T84" fmla="*/ 111 w 1247"/>
                <a:gd name="T85" fmla="*/ 266 h 623"/>
                <a:gd name="T86" fmla="*/ 157 w 1247"/>
                <a:gd name="T87" fmla="*/ 209 h 623"/>
                <a:gd name="T88" fmla="*/ 209 w 1247"/>
                <a:gd name="T89" fmla="*/ 157 h 623"/>
                <a:gd name="T90" fmla="*/ 267 w 1247"/>
                <a:gd name="T91" fmla="*/ 111 h 623"/>
                <a:gd name="T92" fmla="*/ 331 w 1247"/>
                <a:gd name="T93" fmla="*/ 73 h 623"/>
                <a:gd name="T94" fmla="*/ 398 w 1247"/>
                <a:gd name="T95" fmla="*/ 42 h 623"/>
                <a:gd name="T96" fmla="*/ 470 w 1247"/>
                <a:gd name="T97" fmla="*/ 19 h 623"/>
                <a:gd name="T98" fmla="*/ 545 w 1247"/>
                <a:gd name="T99" fmla="*/ 5 h 623"/>
                <a:gd name="T100" fmla="*/ 623 w 1247"/>
                <a:gd name="T101" fmla="*/ 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7" h="623">
                  <a:moveTo>
                    <a:pt x="623" y="0"/>
                  </a:moveTo>
                  <a:lnTo>
                    <a:pt x="702" y="5"/>
                  </a:lnTo>
                  <a:lnTo>
                    <a:pt x="777" y="19"/>
                  </a:lnTo>
                  <a:lnTo>
                    <a:pt x="849" y="42"/>
                  </a:lnTo>
                  <a:lnTo>
                    <a:pt x="916" y="73"/>
                  </a:lnTo>
                  <a:lnTo>
                    <a:pt x="980" y="111"/>
                  </a:lnTo>
                  <a:lnTo>
                    <a:pt x="1037" y="157"/>
                  </a:lnTo>
                  <a:lnTo>
                    <a:pt x="1089" y="209"/>
                  </a:lnTo>
                  <a:lnTo>
                    <a:pt x="1135" y="266"/>
                  </a:lnTo>
                  <a:lnTo>
                    <a:pt x="1173" y="330"/>
                  </a:lnTo>
                  <a:lnTo>
                    <a:pt x="1204" y="397"/>
                  </a:lnTo>
                  <a:lnTo>
                    <a:pt x="1227" y="469"/>
                  </a:lnTo>
                  <a:lnTo>
                    <a:pt x="1242" y="545"/>
                  </a:lnTo>
                  <a:lnTo>
                    <a:pt x="1247" y="623"/>
                  </a:lnTo>
                  <a:lnTo>
                    <a:pt x="1024" y="623"/>
                  </a:lnTo>
                  <a:lnTo>
                    <a:pt x="1019" y="564"/>
                  </a:lnTo>
                  <a:lnTo>
                    <a:pt x="1006" y="507"/>
                  </a:lnTo>
                  <a:lnTo>
                    <a:pt x="986" y="455"/>
                  </a:lnTo>
                  <a:lnTo>
                    <a:pt x="959" y="405"/>
                  </a:lnTo>
                  <a:lnTo>
                    <a:pt x="926" y="360"/>
                  </a:lnTo>
                  <a:lnTo>
                    <a:pt x="887" y="320"/>
                  </a:lnTo>
                  <a:lnTo>
                    <a:pt x="841" y="288"/>
                  </a:lnTo>
                  <a:lnTo>
                    <a:pt x="792" y="260"/>
                  </a:lnTo>
                  <a:lnTo>
                    <a:pt x="739" y="240"/>
                  </a:lnTo>
                  <a:lnTo>
                    <a:pt x="682" y="227"/>
                  </a:lnTo>
                  <a:lnTo>
                    <a:pt x="623" y="222"/>
                  </a:lnTo>
                  <a:lnTo>
                    <a:pt x="564" y="227"/>
                  </a:lnTo>
                  <a:lnTo>
                    <a:pt x="507" y="240"/>
                  </a:lnTo>
                  <a:lnTo>
                    <a:pt x="455" y="260"/>
                  </a:lnTo>
                  <a:lnTo>
                    <a:pt x="404" y="288"/>
                  </a:lnTo>
                  <a:lnTo>
                    <a:pt x="360" y="320"/>
                  </a:lnTo>
                  <a:lnTo>
                    <a:pt x="321" y="360"/>
                  </a:lnTo>
                  <a:lnTo>
                    <a:pt x="286" y="405"/>
                  </a:lnTo>
                  <a:lnTo>
                    <a:pt x="260" y="455"/>
                  </a:lnTo>
                  <a:lnTo>
                    <a:pt x="239" y="507"/>
                  </a:lnTo>
                  <a:lnTo>
                    <a:pt x="227" y="564"/>
                  </a:lnTo>
                  <a:lnTo>
                    <a:pt x="223" y="623"/>
                  </a:lnTo>
                  <a:lnTo>
                    <a:pt x="0" y="623"/>
                  </a:lnTo>
                  <a:lnTo>
                    <a:pt x="5" y="545"/>
                  </a:lnTo>
                  <a:lnTo>
                    <a:pt x="18" y="469"/>
                  </a:lnTo>
                  <a:lnTo>
                    <a:pt x="41" y="397"/>
                  </a:lnTo>
                  <a:lnTo>
                    <a:pt x="72" y="330"/>
                  </a:lnTo>
                  <a:lnTo>
                    <a:pt x="111" y="266"/>
                  </a:lnTo>
                  <a:lnTo>
                    <a:pt x="157" y="209"/>
                  </a:lnTo>
                  <a:lnTo>
                    <a:pt x="209" y="157"/>
                  </a:lnTo>
                  <a:lnTo>
                    <a:pt x="267" y="111"/>
                  </a:lnTo>
                  <a:lnTo>
                    <a:pt x="331" y="73"/>
                  </a:lnTo>
                  <a:lnTo>
                    <a:pt x="398" y="42"/>
                  </a:lnTo>
                  <a:lnTo>
                    <a:pt x="470" y="19"/>
                  </a:lnTo>
                  <a:lnTo>
                    <a:pt x="545" y="5"/>
                  </a:lnTo>
                  <a:lnTo>
                    <a:pt x="623" y="0"/>
                  </a:lnTo>
                  <a:close/>
                </a:path>
              </a:pathLst>
            </a:custGeom>
            <a:solidFill>
              <a:srgbClr val="2683C6">
                <a:lumMod val="75000"/>
              </a:srgbClr>
            </a:solidFill>
            <a:ln w="0">
              <a:solidFill>
                <a:srgbClr val="2683C6">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Freeform 588">
              <a:extLst>
                <a:ext uri="{FF2B5EF4-FFF2-40B4-BE49-F238E27FC236}">
                  <a16:creationId xmlns="" xmlns:a16="http://schemas.microsoft.com/office/drawing/2014/main" id="{25494763-7FB7-8E43-81F1-048A02D883BF}"/>
                </a:ext>
              </a:extLst>
            </p:cNvPr>
            <p:cNvSpPr>
              <a:spLocks/>
            </p:cNvSpPr>
            <p:nvPr/>
          </p:nvSpPr>
          <p:spPr bwMode="auto">
            <a:xfrm>
              <a:off x="7845334" y="2059331"/>
              <a:ext cx="2057400" cy="1243013"/>
            </a:xfrm>
            <a:custGeom>
              <a:avLst/>
              <a:gdLst>
                <a:gd name="T0" fmla="*/ 623 w 1296"/>
                <a:gd name="T1" fmla="*/ 0 h 783"/>
                <a:gd name="T2" fmla="*/ 702 w 1296"/>
                <a:gd name="T3" fmla="*/ 5 h 783"/>
                <a:gd name="T4" fmla="*/ 777 w 1296"/>
                <a:gd name="T5" fmla="*/ 19 h 783"/>
                <a:gd name="T6" fmla="*/ 849 w 1296"/>
                <a:gd name="T7" fmla="*/ 42 h 783"/>
                <a:gd name="T8" fmla="*/ 918 w 1296"/>
                <a:gd name="T9" fmla="*/ 73 h 783"/>
                <a:gd name="T10" fmla="*/ 980 w 1296"/>
                <a:gd name="T11" fmla="*/ 111 h 783"/>
                <a:gd name="T12" fmla="*/ 1039 w 1296"/>
                <a:gd name="T13" fmla="*/ 157 h 783"/>
                <a:gd name="T14" fmla="*/ 1089 w 1296"/>
                <a:gd name="T15" fmla="*/ 209 h 783"/>
                <a:gd name="T16" fmla="*/ 1135 w 1296"/>
                <a:gd name="T17" fmla="*/ 266 h 783"/>
                <a:gd name="T18" fmla="*/ 1175 w 1296"/>
                <a:gd name="T19" fmla="*/ 330 h 783"/>
                <a:gd name="T20" fmla="*/ 1206 w 1296"/>
                <a:gd name="T21" fmla="*/ 397 h 783"/>
                <a:gd name="T22" fmla="*/ 1228 w 1296"/>
                <a:gd name="T23" fmla="*/ 469 h 783"/>
                <a:gd name="T24" fmla="*/ 1243 w 1296"/>
                <a:gd name="T25" fmla="*/ 545 h 783"/>
                <a:gd name="T26" fmla="*/ 1248 w 1296"/>
                <a:gd name="T27" fmla="*/ 623 h 783"/>
                <a:gd name="T28" fmla="*/ 1296 w 1296"/>
                <a:gd name="T29" fmla="*/ 623 h 783"/>
                <a:gd name="T30" fmla="*/ 1135 w 1296"/>
                <a:gd name="T31" fmla="*/ 783 h 783"/>
                <a:gd name="T32" fmla="*/ 975 w 1296"/>
                <a:gd name="T33" fmla="*/ 623 h 783"/>
                <a:gd name="T34" fmla="*/ 1024 w 1296"/>
                <a:gd name="T35" fmla="*/ 623 h 783"/>
                <a:gd name="T36" fmla="*/ 1021 w 1296"/>
                <a:gd name="T37" fmla="*/ 564 h 783"/>
                <a:gd name="T38" fmla="*/ 1008 w 1296"/>
                <a:gd name="T39" fmla="*/ 507 h 783"/>
                <a:gd name="T40" fmla="*/ 986 w 1296"/>
                <a:gd name="T41" fmla="*/ 455 h 783"/>
                <a:gd name="T42" fmla="*/ 960 w 1296"/>
                <a:gd name="T43" fmla="*/ 405 h 783"/>
                <a:gd name="T44" fmla="*/ 926 w 1296"/>
                <a:gd name="T45" fmla="*/ 360 h 783"/>
                <a:gd name="T46" fmla="*/ 887 w 1296"/>
                <a:gd name="T47" fmla="*/ 320 h 783"/>
                <a:gd name="T48" fmla="*/ 842 w 1296"/>
                <a:gd name="T49" fmla="*/ 288 h 783"/>
                <a:gd name="T50" fmla="*/ 793 w 1296"/>
                <a:gd name="T51" fmla="*/ 260 h 783"/>
                <a:gd name="T52" fmla="*/ 739 w 1296"/>
                <a:gd name="T53" fmla="*/ 240 h 783"/>
                <a:gd name="T54" fmla="*/ 684 w 1296"/>
                <a:gd name="T55" fmla="*/ 227 h 783"/>
                <a:gd name="T56" fmla="*/ 623 w 1296"/>
                <a:gd name="T57" fmla="*/ 222 h 783"/>
                <a:gd name="T58" fmla="*/ 564 w 1296"/>
                <a:gd name="T59" fmla="*/ 227 h 783"/>
                <a:gd name="T60" fmla="*/ 509 w 1296"/>
                <a:gd name="T61" fmla="*/ 240 h 783"/>
                <a:gd name="T62" fmla="*/ 455 w 1296"/>
                <a:gd name="T63" fmla="*/ 260 h 783"/>
                <a:gd name="T64" fmla="*/ 406 w 1296"/>
                <a:gd name="T65" fmla="*/ 288 h 783"/>
                <a:gd name="T66" fmla="*/ 362 w 1296"/>
                <a:gd name="T67" fmla="*/ 320 h 783"/>
                <a:gd name="T68" fmla="*/ 321 w 1296"/>
                <a:gd name="T69" fmla="*/ 360 h 783"/>
                <a:gd name="T70" fmla="*/ 288 w 1296"/>
                <a:gd name="T71" fmla="*/ 405 h 783"/>
                <a:gd name="T72" fmla="*/ 260 w 1296"/>
                <a:gd name="T73" fmla="*/ 455 h 783"/>
                <a:gd name="T74" fmla="*/ 240 w 1296"/>
                <a:gd name="T75" fmla="*/ 507 h 783"/>
                <a:gd name="T76" fmla="*/ 227 w 1296"/>
                <a:gd name="T77" fmla="*/ 564 h 783"/>
                <a:gd name="T78" fmla="*/ 222 w 1296"/>
                <a:gd name="T79" fmla="*/ 623 h 783"/>
                <a:gd name="T80" fmla="*/ 0 w 1296"/>
                <a:gd name="T81" fmla="*/ 623 h 783"/>
                <a:gd name="T82" fmla="*/ 5 w 1296"/>
                <a:gd name="T83" fmla="*/ 545 h 783"/>
                <a:gd name="T84" fmla="*/ 20 w 1296"/>
                <a:gd name="T85" fmla="*/ 469 h 783"/>
                <a:gd name="T86" fmla="*/ 43 w 1296"/>
                <a:gd name="T87" fmla="*/ 397 h 783"/>
                <a:gd name="T88" fmla="*/ 74 w 1296"/>
                <a:gd name="T89" fmla="*/ 330 h 783"/>
                <a:gd name="T90" fmla="*/ 111 w 1296"/>
                <a:gd name="T91" fmla="*/ 266 h 783"/>
                <a:gd name="T92" fmla="*/ 157 w 1296"/>
                <a:gd name="T93" fmla="*/ 209 h 783"/>
                <a:gd name="T94" fmla="*/ 209 w 1296"/>
                <a:gd name="T95" fmla="*/ 157 h 783"/>
                <a:gd name="T96" fmla="*/ 268 w 1296"/>
                <a:gd name="T97" fmla="*/ 111 h 783"/>
                <a:gd name="T98" fmla="*/ 330 w 1296"/>
                <a:gd name="T99" fmla="*/ 73 h 783"/>
                <a:gd name="T100" fmla="*/ 399 w 1296"/>
                <a:gd name="T101" fmla="*/ 42 h 783"/>
                <a:gd name="T102" fmla="*/ 469 w 1296"/>
                <a:gd name="T103" fmla="*/ 19 h 783"/>
                <a:gd name="T104" fmla="*/ 545 w 1296"/>
                <a:gd name="T105" fmla="*/ 5 h 783"/>
                <a:gd name="T106" fmla="*/ 623 w 1296"/>
                <a:gd name="T10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6" h="783">
                  <a:moveTo>
                    <a:pt x="623" y="0"/>
                  </a:moveTo>
                  <a:lnTo>
                    <a:pt x="702" y="5"/>
                  </a:lnTo>
                  <a:lnTo>
                    <a:pt x="777" y="19"/>
                  </a:lnTo>
                  <a:lnTo>
                    <a:pt x="849" y="42"/>
                  </a:lnTo>
                  <a:lnTo>
                    <a:pt x="918" y="73"/>
                  </a:lnTo>
                  <a:lnTo>
                    <a:pt x="980" y="111"/>
                  </a:lnTo>
                  <a:lnTo>
                    <a:pt x="1039" y="157"/>
                  </a:lnTo>
                  <a:lnTo>
                    <a:pt x="1089" y="209"/>
                  </a:lnTo>
                  <a:lnTo>
                    <a:pt x="1135" y="266"/>
                  </a:lnTo>
                  <a:lnTo>
                    <a:pt x="1175" y="330"/>
                  </a:lnTo>
                  <a:lnTo>
                    <a:pt x="1206" y="397"/>
                  </a:lnTo>
                  <a:lnTo>
                    <a:pt x="1228" y="469"/>
                  </a:lnTo>
                  <a:lnTo>
                    <a:pt x="1243" y="545"/>
                  </a:lnTo>
                  <a:lnTo>
                    <a:pt x="1248" y="623"/>
                  </a:lnTo>
                  <a:lnTo>
                    <a:pt x="1296" y="623"/>
                  </a:lnTo>
                  <a:lnTo>
                    <a:pt x="1135" y="783"/>
                  </a:lnTo>
                  <a:lnTo>
                    <a:pt x="975" y="623"/>
                  </a:lnTo>
                  <a:lnTo>
                    <a:pt x="1024" y="623"/>
                  </a:lnTo>
                  <a:lnTo>
                    <a:pt x="1021" y="564"/>
                  </a:lnTo>
                  <a:lnTo>
                    <a:pt x="1008" y="507"/>
                  </a:lnTo>
                  <a:lnTo>
                    <a:pt x="986" y="455"/>
                  </a:lnTo>
                  <a:lnTo>
                    <a:pt x="960" y="405"/>
                  </a:lnTo>
                  <a:lnTo>
                    <a:pt x="926" y="360"/>
                  </a:lnTo>
                  <a:lnTo>
                    <a:pt x="887" y="320"/>
                  </a:lnTo>
                  <a:lnTo>
                    <a:pt x="842" y="288"/>
                  </a:lnTo>
                  <a:lnTo>
                    <a:pt x="793" y="260"/>
                  </a:lnTo>
                  <a:lnTo>
                    <a:pt x="739" y="240"/>
                  </a:lnTo>
                  <a:lnTo>
                    <a:pt x="684" y="227"/>
                  </a:lnTo>
                  <a:lnTo>
                    <a:pt x="623" y="222"/>
                  </a:lnTo>
                  <a:lnTo>
                    <a:pt x="564" y="227"/>
                  </a:lnTo>
                  <a:lnTo>
                    <a:pt x="509" y="240"/>
                  </a:lnTo>
                  <a:lnTo>
                    <a:pt x="455" y="260"/>
                  </a:lnTo>
                  <a:lnTo>
                    <a:pt x="406" y="288"/>
                  </a:lnTo>
                  <a:lnTo>
                    <a:pt x="362" y="320"/>
                  </a:lnTo>
                  <a:lnTo>
                    <a:pt x="321" y="360"/>
                  </a:lnTo>
                  <a:lnTo>
                    <a:pt x="288" y="405"/>
                  </a:lnTo>
                  <a:lnTo>
                    <a:pt x="260" y="455"/>
                  </a:lnTo>
                  <a:lnTo>
                    <a:pt x="240" y="507"/>
                  </a:lnTo>
                  <a:lnTo>
                    <a:pt x="227" y="564"/>
                  </a:lnTo>
                  <a:lnTo>
                    <a:pt x="222" y="623"/>
                  </a:lnTo>
                  <a:lnTo>
                    <a:pt x="0" y="623"/>
                  </a:lnTo>
                  <a:lnTo>
                    <a:pt x="5" y="545"/>
                  </a:lnTo>
                  <a:lnTo>
                    <a:pt x="20" y="469"/>
                  </a:lnTo>
                  <a:lnTo>
                    <a:pt x="43" y="397"/>
                  </a:lnTo>
                  <a:lnTo>
                    <a:pt x="74" y="330"/>
                  </a:lnTo>
                  <a:lnTo>
                    <a:pt x="111" y="266"/>
                  </a:lnTo>
                  <a:lnTo>
                    <a:pt x="157" y="209"/>
                  </a:lnTo>
                  <a:lnTo>
                    <a:pt x="209" y="157"/>
                  </a:lnTo>
                  <a:lnTo>
                    <a:pt x="268" y="111"/>
                  </a:lnTo>
                  <a:lnTo>
                    <a:pt x="330" y="73"/>
                  </a:lnTo>
                  <a:lnTo>
                    <a:pt x="399" y="42"/>
                  </a:lnTo>
                  <a:lnTo>
                    <a:pt x="469" y="19"/>
                  </a:lnTo>
                  <a:lnTo>
                    <a:pt x="545" y="5"/>
                  </a:lnTo>
                  <a:lnTo>
                    <a:pt x="623" y="0"/>
                  </a:lnTo>
                  <a:close/>
                </a:path>
              </a:pathLst>
            </a:custGeom>
            <a:solidFill>
              <a:srgbClr val="62A39F"/>
            </a:solidFill>
            <a:ln w="0">
              <a:solidFill>
                <a:srgbClr val="62A39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589">
              <a:extLst>
                <a:ext uri="{FF2B5EF4-FFF2-40B4-BE49-F238E27FC236}">
                  <a16:creationId xmlns="" xmlns:a16="http://schemas.microsoft.com/office/drawing/2014/main" id="{73F24E94-3FAC-8445-A8A0-51238EA82136}"/>
                </a:ext>
              </a:extLst>
            </p:cNvPr>
            <p:cNvSpPr>
              <a:spLocks/>
            </p:cNvSpPr>
            <p:nvPr/>
          </p:nvSpPr>
          <p:spPr bwMode="auto">
            <a:xfrm>
              <a:off x="6219734" y="2794344"/>
              <a:ext cx="2057400" cy="1244600"/>
            </a:xfrm>
            <a:custGeom>
              <a:avLst/>
              <a:gdLst>
                <a:gd name="T0" fmla="*/ 1135 w 1296"/>
                <a:gd name="T1" fmla="*/ 0 h 784"/>
                <a:gd name="T2" fmla="*/ 1296 w 1296"/>
                <a:gd name="T3" fmla="*/ 160 h 784"/>
                <a:gd name="T4" fmla="*/ 1246 w 1296"/>
                <a:gd name="T5" fmla="*/ 160 h 784"/>
                <a:gd name="T6" fmla="*/ 1242 w 1296"/>
                <a:gd name="T7" fmla="*/ 239 h 784"/>
                <a:gd name="T8" fmla="*/ 1229 w 1296"/>
                <a:gd name="T9" fmla="*/ 314 h 784"/>
                <a:gd name="T10" fmla="*/ 1206 w 1296"/>
                <a:gd name="T11" fmla="*/ 386 h 784"/>
                <a:gd name="T12" fmla="*/ 1175 w 1296"/>
                <a:gd name="T13" fmla="*/ 453 h 784"/>
                <a:gd name="T14" fmla="*/ 1135 w 1296"/>
                <a:gd name="T15" fmla="*/ 517 h 784"/>
                <a:gd name="T16" fmla="*/ 1089 w 1296"/>
                <a:gd name="T17" fmla="*/ 574 h 784"/>
                <a:gd name="T18" fmla="*/ 1037 w 1296"/>
                <a:gd name="T19" fmla="*/ 626 h 784"/>
                <a:gd name="T20" fmla="*/ 980 w 1296"/>
                <a:gd name="T21" fmla="*/ 672 h 784"/>
                <a:gd name="T22" fmla="*/ 916 w 1296"/>
                <a:gd name="T23" fmla="*/ 712 h 784"/>
                <a:gd name="T24" fmla="*/ 849 w 1296"/>
                <a:gd name="T25" fmla="*/ 743 h 784"/>
                <a:gd name="T26" fmla="*/ 777 w 1296"/>
                <a:gd name="T27" fmla="*/ 766 h 784"/>
                <a:gd name="T28" fmla="*/ 702 w 1296"/>
                <a:gd name="T29" fmla="*/ 779 h 784"/>
                <a:gd name="T30" fmla="*/ 623 w 1296"/>
                <a:gd name="T31" fmla="*/ 784 h 784"/>
                <a:gd name="T32" fmla="*/ 545 w 1296"/>
                <a:gd name="T33" fmla="*/ 779 h 784"/>
                <a:gd name="T34" fmla="*/ 470 w 1296"/>
                <a:gd name="T35" fmla="*/ 766 h 784"/>
                <a:gd name="T36" fmla="*/ 398 w 1296"/>
                <a:gd name="T37" fmla="*/ 743 h 784"/>
                <a:gd name="T38" fmla="*/ 330 w 1296"/>
                <a:gd name="T39" fmla="*/ 712 h 784"/>
                <a:gd name="T40" fmla="*/ 267 w 1296"/>
                <a:gd name="T41" fmla="*/ 672 h 784"/>
                <a:gd name="T42" fmla="*/ 209 w 1296"/>
                <a:gd name="T43" fmla="*/ 626 h 784"/>
                <a:gd name="T44" fmla="*/ 157 w 1296"/>
                <a:gd name="T45" fmla="*/ 574 h 784"/>
                <a:gd name="T46" fmla="*/ 111 w 1296"/>
                <a:gd name="T47" fmla="*/ 517 h 784"/>
                <a:gd name="T48" fmla="*/ 74 w 1296"/>
                <a:gd name="T49" fmla="*/ 453 h 784"/>
                <a:gd name="T50" fmla="*/ 43 w 1296"/>
                <a:gd name="T51" fmla="*/ 386 h 784"/>
                <a:gd name="T52" fmla="*/ 20 w 1296"/>
                <a:gd name="T53" fmla="*/ 314 h 784"/>
                <a:gd name="T54" fmla="*/ 5 w 1296"/>
                <a:gd name="T55" fmla="*/ 239 h 784"/>
                <a:gd name="T56" fmla="*/ 0 w 1296"/>
                <a:gd name="T57" fmla="*/ 160 h 784"/>
                <a:gd name="T58" fmla="*/ 223 w 1296"/>
                <a:gd name="T59" fmla="*/ 160 h 784"/>
                <a:gd name="T60" fmla="*/ 227 w 1296"/>
                <a:gd name="T61" fmla="*/ 219 h 784"/>
                <a:gd name="T62" fmla="*/ 241 w 1296"/>
                <a:gd name="T63" fmla="*/ 276 h 784"/>
                <a:gd name="T64" fmla="*/ 260 w 1296"/>
                <a:gd name="T65" fmla="*/ 329 h 784"/>
                <a:gd name="T66" fmla="*/ 288 w 1296"/>
                <a:gd name="T67" fmla="*/ 379 h 784"/>
                <a:gd name="T68" fmla="*/ 321 w 1296"/>
                <a:gd name="T69" fmla="*/ 424 h 784"/>
                <a:gd name="T70" fmla="*/ 360 w 1296"/>
                <a:gd name="T71" fmla="*/ 463 h 784"/>
                <a:gd name="T72" fmla="*/ 406 w 1296"/>
                <a:gd name="T73" fmla="*/ 497 h 784"/>
                <a:gd name="T74" fmla="*/ 455 w 1296"/>
                <a:gd name="T75" fmla="*/ 523 h 784"/>
                <a:gd name="T76" fmla="*/ 507 w 1296"/>
                <a:gd name="T77" fmla="*/ 545 h 784"/>
                <a:gd name="T78" fmla="*/ 564 w 1296"/>
                <a:gd name="T79" fmla="*/ 556 h 784"/>
                <a:gd name="T80" fmla="*/ 623 w 1296"/>
                <a:gd name="T81" fmla="*/ 561 h 784"/>
                <a:gd name="T82" fmla="*/ 682 w 1296"/>
                <a:gd name="T83" fmla="*/ 556 h 784"/>
                <a:gd name="T84" fmla="*/ 739 w 1296"/>
                <a:gd name="T85" fmla="*/ 545 h 784"/>
                <a:gd name="T86" fmla="*/ 792 w 1296"/>
                <a:gd name="T87" fmla="*/ 523 h 784"/>
                <a:gd name="T88" fmla="*/ 842 w 1296"/>
                <a:gd name="T89" fmla="*/ 497 h 784"/>
                <a:gd name="T90" fmla="*/ 887 w 1296"/>
                <a:gd name="T91" fmla="*/ 463 h 784"/>
                <a:gd name="T92" fmla="*/ 926 w 1296"/>
                <a:gd name="T93" fmla="*/ 424 h 784"/>
                <a:gd name="T94" fmla="*/ 960 w 1296"/>
                <a:gd name="T95" fmla="*/ 379 h 784"/>
                <a:gd name="T96" fmla="*/ 986 w 1296"/>
                <a:gd name="T97" fmla="*/ 329 h 784"/>
                <a:gd name="T98" fmla="*/ 1008 w 1296"/>
                <a:gd name="T99" fmla="*/ 276 h 784"/>
                <a:gd name="T100" fmla="*/ 1019 w 1296"/>
                <a:gd name="T101" fmla="*/ 219 h 784"/>
                <a:gd name="T102" fmla="*/ 1024 w 1296"/>
                <a:gd name="T103" fmla="*/ 160 h 784"/>
                <a:gd name="T104" fmla="*/ 975 w 1296"/>
                <a:gd name="T105" fmla="*/ 160 h 784"/>
                <a:gd name="T106" fmla="*/ 1135 w 1296"/>
                <a:gd name="T107"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6" h="784">
                  <a:moveTo>
                    <a:pt x="1135" y="0"/>
                  </a:moveTo>
                  <a:lnTo>
                    <a:pt x="1296" y="160"/>
                  </a:lnTo>
                  <a:lnTo>
                    <a:pt x="1246" y="160"/>
                  </a:lnTo>
                  <a:lnTo>
                    <a:pt x="1242" y="239"/>
                  </a:lnTo>
                  <a:lnTo>
                    <a:pt x="1229" y="314"/>
                  </a:lnTo>
                  <a:lnTo>
                    <a:pt x="1206" y="386"/>
                  </a:lnTo>
                  <a:lnTo>
                    <a:pt x="1175" y="453"/>
                  </a:lnTo>
                  <a:lnTo>
                    <a:pt x="1135" y="517"/>
                  </a:lnTo>
                  <a:lnTo>
                    <a:pt x="1089" y="574"/>
                  </a:lnTo>
                  <a:lnTo>
                    <a:pt x="1037" y="626"/>
                  </a:lnTo>
                  <a:lnTo>
                    <a:pt x="980" y="672"/>
                  </a:lnTo>
                  <a:lnTo>
                    <a:pt x="916" y="712"/>
                  </a:lnTo>
                  <a:lnTo>
                    <a:pt x="849" y="743"/>
                  </a:lnTo>
                  <a:lnTo>
                    <a:pt x="777" y="766"/>
                  </a:lnTo>
                  <a:lnTo>
                    <a:pt x="702" y="779"/>
                  </a:lnTo>
                  <a:lnTo>
                    <a:pt x="623" y="784"/>
                  </a:lnTo>
                  <a:lnTo>
                    <a:pt x="545" y="779"/>
                  </a:lnTo>
                  <a:lnTo>
                    <a:pt x="470" y="766"/>
                  </a:lnTo>
                  <a:lnTo>
                    <a:pt x="398" y="743"/>
                  </a:lnTo>
                  <a:lnTo>
                    <a:pt x="330" y="712"/>
                  </a:lnTo>
                  <a:lnTo>
                    <a:pt x="267" y="672"/>
                  </a:lnTo>
                  <a:lnTo>
                    <a:pt x="209" y="626"/>
                  </a:lnTo>
                  <a:lnTo>
                    <a:pt x="157" y="574"/>
                  </a:lnTo>
                  <a:lnTo>
                    <a:pt x="111" y="517"/>
                  </a:lnTo>
                  <a:lnTo>
                    <a:pt x="74" y="453"/>
                  </a:lnTo>
                  <a:lnTo>
                    <a:pt x="43" y="386"/>
                  </a:lnTo>
                  <a:lnTo>
                    <a:pt x="20" y="314"/>
                  </a:lnTo>
                  <a:lnTo>
                    <a:pt x="5" y="239"/>
                  </a:lnTo>
                  <a:lnTo>
                    <a:pt x="0" y="160"/>
                  </a:lnTo>
                  <a:lnTo>
                    <a:pt x="223" y="160"/>
                  </a:lnTo>
                  <a:lnTo>
                    <a:pt x="227" y="219"/>
                  </a:lnTo>
                  <a:lnTo>
                    <a:pt x="241" y="276"/>
                  </a:lnTo>
                  <a:lnTo>
                    <a:pt x="260" y="329"/>
                  </a:lnTo>
                  <a:lnTo>
                    <a:pt x="288" y="379"/>
                  </a:lnTo>
                  <a:lnTo>
                    <a:pt x="321" y="424"/>
                  </a:lnTo>
                  <a:lnTo>
                    <a:pt x="360" y="463"/>
                  </a:lnTo>
                  <a:lnTo>
                    <a:pt x="406" y="497"/>
                  </a:lnTo>
                  <a:lnTo>
                    <a:pt x="455" y="523"/>
                  </a:lnTo>
                  <a:lnTo>
                    <a:pt x="507" y="545"/>
                  </a:lnTo>
                  <a:lnTo>
                    <a:pt x="564" y="556"/>
                  </a:lnTo>
                  <a:lnTo>
                    <a:pt x="623" y="561"/>
                  </a:lnTo>
                  <a:lnTo>
                    <a:pt x="682" y="556"/>
                  </a:lnTo>
                  <a:lnTo>
                    <a:pt x="739" y="545"/>
                  </a:lnTo>
                  <a:lnTo>
                    <a:pt x="792" y="523"/>
                  </a:lnTo>
                  <a:lnTo>
                    <a:pt x="842" y="497"/>
                  </a:lnTo>
                  <a:lnTo>
                    <a:pt x="887" y="463"/>
                  </a:lnTo>
                  <a:lnTo>
                    <a:pt x="926" y="424"/>
                  </a:lnTo>
                  <a:lnTo>
                    <a:pt x="960" y="379"/>
                  </a:lnTo>
                  <a:lnTo>
                    <a:pt x="986" y="329"/>
                  </a:lnTo>
                  <a:lnTo>
                    <a:pt x="1008" y="276"/>
                  </a:lnTo>
                  <a:lnTo>
                    <a:pt x="1019" y="219"/>
                  </a:lnTo>
                  <a:lnTo>
                    <a:pt x="1024" y="160"/>
                  </a:lnTo>
                  <a:lnTo>
                    <a:pt x="975" y="160"/>
                  </a:lnTo>
                  <a:lnTo>
                    <a:pt x="1135" y="0"/>
                  </a:lnTo>
                  <a:close/>
                </a:path>
              </a:pathLst>
            </a:custGeom>
            <a:solidFill>
              <a:srgbClr val="3E8853"/>
            </a:solidFill>
            <a:ln w="0">
              <a:solidFill>
                <a:srgbClr val="3E885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Freeform 590">
              <a:extLst>
                <a:ext uri="{FF2B5EF4-FFF2-40B4-BE49-F238E27FC236}">
                  <a16:creationId xmlns="" xmlns:a16="http://schemas.microsoft.com/office/drawing/2014/main" id="{DC6CDFFA-A014-2541-9C41-5FEBBF40E603}"/>
                </a:ext>
              </a:extLst>
            </p:cNvPr>
            <p:cNvSpPr>
              <a:spLocks/>
            </p:cNvSpPr>
            <p:nvPr/>
          </p:nvSpPr>
          <p:spPr bwMode="auto">
            <a:xfrm>
              <a:off x="4594134" y="2059331"/>
              <a:ext cx="2057400" cy="1243013"/>
            </a:xfrm>
            <a:custGeom>
              <a:avLst/>
              <a:gdLst>
                <a:gd name="T0" fmla="*/ 623 w 1296"/>
                <a:gd name="T1" fmla="*/ 0 h 783"/>
                <a:gd name="T2" fmla="*/ 702 w 1296"/>
                <a:gd name="T3" fmla="*/ 5 h 783"/>
                <a:gd name="T4" fmla="*/ 777 w 1296"/>
                <a:gd name="T5" fmla="*/ 19 h 783"/>
                <a:gd name="T6" fmla="*/ 849 w 1296"/>
                <a:gd name="T7" fmla="*/ 42 h 783"/>
                <a:gd name="T8" fmla="*/ 916 w 1296"/>
                <a:gd name="T9" fmla="*/ 73 h 783"/>
                <a:gd name="T10" fmla="*/ 980 w 1296"/>
                <a:gd name="T11" fmla="*/ 111 h 783"/>
                <a:gd name="T12" fmla="*/ 1037 w 1296"/>
                <a:gd name="T13" fmla="*/ 157 h 783"/>
                <a:gd name="T14" fmla="*/ 1089 w 1296"/>
                <a:gd name="T15" fmla="*/ 209 h 783"/>
                <a:gd name="T16" fmla="*/ 1135 w 1296"/>
                <a:gd name="T17" fmla="*/ 266 h 783"/>
                <a:gd name="T18" fmla="*/ 1175 w 1296"/>
                <a:gd name="T19" fmla="*/ 330 h 783"/>
                <a:gd name="T20" fmla="*/ 1206 w 1296"/>
                <a:gd name="T21" fmla="*/ 397 h 783"/>
                <a:gd name="T22" fmla="*/ 1229 w 1296"/>
                <a:gd name="T23" fmla="*/ 469 h 783"/>
                <a:gd name="T24" fmla="*/ 1242 w 1296"/>
                <a:gd name="T25" fmla="*/ 545 h 783"/>
                <a:gd name="T26" fmla="*/ 1247 w 1296"/>
                <a:gd name="T27" fmla="*/ 623 h 783"/>
                <a:gd name="T28" fmla="*/ 1296 w 1296"/>
                <a:gd name="T29" fmla="*/ 623 h 783"/>
                <a:gd name="T30" fmla="*/ 1135 w 1296"/>
                <a:gd name="T31" fmla="*/ 783 h 783"/>
                <a:gd name="T32" fmla="*/ 975 w 1296"/>
                <a:gd name="T33" fmla="*/ 623 h 783"/>
                <a:gd name="T34" fmla="*/ 1024 w 1296"/>
                <a:gd name="T35" fmla="*/ 623 h 783"/>
                <a:gd name="T36" fmla="*/ 1019 w 1296"/>
                <a:gd name="T37" fmla="*/ 564 h 783"/>
                <a:gd name="T38" fmla="*/ 1008 w 1296"/>
                <a:gd name="T39" fmla="*/ 507 h 783"/>
                <a:gd name="T40" fmla="*/ 986 w 1296"/>
                <a:gd name="T41" fmla="*/ 455 h 783"/>
                <a:gd name="T42" fmla="*/ 959 w 1296"/>
                <a:gd name="T43" fmla="*/ 405 h 783"/>
                <a:gd name="T44" fmla="*/ 926 w 1296"/>
                <a:gd name="T45" fmla="*/ 360 h 783"/>
                <a:gd name="T46" fmla="*/ 887 w 1296"/>
                <a:gd name="T47" fmla="*/ 320 h 783"/>
                <a:gd name="T48" fmla="*/ 841 w 1296"/>
                <a:gd name="T49" fmla="*/ 288 h 783"/>
                <a:gd name="T50" fmla="*/ 792 w 1296"/>
                <a:gd name="T51" fmla="*/ 260 h 783"/>
                <a:gd name="T52" fmla="*/ 739 w 1296"/>
                <a:gd name="T53" fmla="*/ 240 h 783"/>
                <a:gd name="T54" fmla="*/ 682 w 1296"/>
                <a:gd name="T55" fmla="*/ 227 h 783"/>
                <a:gd name="T56" fmla="*/ 623 w 1296"/>
                <a:gd name="T57" fmla="*/ 222 h 783"/>
                <a:gd name="T58" fmla="*/ 564 w 1296"/>
                <a:gd name="T59" fmla="*/ 227 h 783"/>
                <a:gd name="T60" fmla="*/ 507 w 1296"/>
                <a:gd name="T61" fmla="*/ 240 h 783"/>
                <a:gd name="T62" fmla="*/ 455 w 1296"/>
                <a:gd name="T63" fmla="*/ 260 h 783"/>
                <a:gd name="T64" fmla="*/ 406 w 1296"/>
                <a:gd name="T65" fmla="*/ 288 h 783"/>
                <a:gd name="T66" fmla="*/ 360 w 1296"/>
                <a:gd name="T67" fmla="*/ 320 h 783"/>
                <a:gd name="T68" fmla="*/ 321 w 1296"/>
                <a:gd name="T69" fmla="*/ 360 h 783"/>
                <a:gd name="T70" fmla="*/ 288 w 1296"/>
                <a:gd name="T71" fmla="*/ 405 h 783"/>
                <a:gd name="T72" fmla="*/ 260 w 1296"/>
                <a:gd name="T73" fmla="*/ 455 h 783"/>
                <a:gd name="T74" fmla="*/ 239 w 1296"/>
                <a:gd name="T75" fmla="*/ 507 h 783"/>
                <a:gd name="T76" fmla="*/ 227 w 1296"/>
                <a:gd name="T77" fmla="*/ 564 h 783"/>
                <a:gd name="T78" fmla="*/ 223 w 1296"/>
                <a:gd name="T79" fmla="*/ 623 h 783"/>
                <a:gd name="T80" fmla="*/ 0 w 1296"/>
                <a:gd name="T81" fmla="*/ 623 h 783"/>
                <a:gd name="T82" fmla="*/ 5 w 1296"/>
                <a:gd name="T83" fmla="*/ 545 h 783"/>
                <a:gd name="T84" fmla="*/ 18 w 1296"/>
                <a:gd name="T85" fmla="*/ 469 h 783"/>
                <a:gd name="T86" fmla="*/ 41 w 1296"/>
                <a:gd name="T87" fmla="*/ 397 h 783"/>
                <a:gd name="T88" fmla="*/ 72 w 1296"/>
                <a:gd name="T89" fmla="*/ 330 h 783"/>
                <a:gd name="T90" fmla="*/ 111 w 1296"/>
                <a:gd name="T91" fmla="*/ 266 h 783"/>
                <a:gd name="T92" fmla="*/ 157 w 1296"/>
                <a:gd name="T93" fmla="*/ 209 h 783"/>
                <a:gd name="T94" fmla="*/ 209 w 1296"/>
                <a:gd name="T95" fmla="*/ 157 h 783"/>
                <a:gd name="T96" fmla="*/ 267 w 1296"/>
                <a:gd name="T97" fmla="*/ 111 h 783"/>
                <a:gd name="T98" fmla="*/ 330 w 1296"/>
                <a:gd name="T99" fmla="*/ 73 h 783"/>
                <a:gd name="T100" fmla="*/ 398 w 1296"/>
                <a:gd name="T101" fmla="*/ 42 h 783"/>
                <a:gd name="T102" fmla="*/ 470 w 1296"/>
                <a:gd name="T103" fmla="*/ 19 h 783"/>
                <a:gd name="T104" fmla="*/ 545 w 1296"/>
                <a:gd name="T105" fmla="*/ 5 h 783"/>
                <a:gd name="T106" fmla="*/ 623 w 1296"/>
                <a:gd name="T107"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6" h="783">
                  <a:moveTo>
                    <a:pt x="623" y="0"/>
                  </a:moveTo>
                  <a:lnTo>
                    <a:pt x="702" y="5"/>
                  </a:lnTo>
                  <a:lnTo>
                    <a:pt x="777" y="19"/>
                  </a:lnTo>
                  <a:lnTo>
                    <a:pt x="849" y="42"/>
                  </a:lnTo>
                  <a:lnTo>
                    <a:pt x="916" y="73"/>
                  </a:lnTo>
                  <a:lnTo>
                    <a:pt x="980" y="111"/>
                  </a:lnTo>
                  <a:lnTo>
                    <a:pt x="1037" y="157"/>
                  </a:lnTo>
                  <a:lnTo>
                    <a:pt x="1089" y="209"/>
                  </a:lnTo>
                  <a:lnTo>
                    <a:pt x="1135" y="266"/>
                  </a:lnTo>
                  <a:lnTo>
                    <a:pt x="1175" y="330"/>
                  </a:lnTo>
                  <a:lnTo>
                    <a:pt x="1206" y="397"/>
                  </a:lnTo>
                  <a:lnTo>
                    <a:pt x="1229" y="469"/>
                  </a:lnTo>
                  <a:lnTo>
                    <a:pt x="1242" y="545"/>
                  </a:lnTo>
                  <a:lnTo>
                    <a:pt x="1247" y="623"/>
                  </a:lnTo>
                  <a:lnTo>
                    <a:pt x="1296" y="623"/>
                  </a:lnTo>
                  <a:lnTo>
                    <a:pt x="1135" y="783"/>
                  </a:lnTo>
                  <a:lnTo>
                    <a:pt x="975" y="623"/>
                  </a:lnTo>
                  <a:lnTo>
                    <a:pt x="1024" y="623"/>
                  </a:lnTo>
                  <a:lnTo>
                    <a:pt x="1019" y="564"/>
                  </a:lnTo>
                  <a:lnTo>
                    <a:pt x="1008" y="507"/>
                  </a:lnTo>
                  <a:lnTo>
                    <a:pt x="986" y="455"/>
                  </a:lnTo>
                  <a:lnTo>
                    <a:pt x="959" y="405"/>
                  </a:lnTo>
                  <a:lnTo>
                    <a:pt x="926" y="360"/>
                  </a:lnTo>
                  <a:lnTo>
                    <a:pt x="887" y="320"/>
                  </a:lnTo>
                  <a:lnTo>
                    <a:pt x="841" y="288"/>
                  </a:lnTo>
                  <a:lnTo>
                    <a:pt x="792" y="260"/>
                  </a:lnTo>
                  <a:lnTo>
                    <a:pt x="739" y="240"/>
                  </a:lnTo>
                  <a:lnTo>
                    <a:pt x="682" y="227"/>
                  </a:lnTo>
                  <a:lnTo>
                    <a:pt x="623" y="222"/>
                  </a:lnTo>
                  <a:lnTo>
                    <a:pt x="564" y="227"/>
                  </a:lnTo>
                  <a:lnTo>
                    <a:pt x="507" y="240"/>
                  </a:lnTo>
                  <a:lnTo>
                    <a:pt x="455" y="260"/>
                  </a:lnTo>
                  <a:lnTo>
                    <a:pt x="406" y="288"/>
                  </a:lnTo>
                  <a:lnTo>
                    <a:pt x="360" y="320"/>
                  </a:lnTo>
                  <a:lnTo>
                    <a:pt x="321" y="360"/>
                  </a:lnTo>
                  <a:lnTo>
                    <a:pt x="288" y="405"/>
                  </a:lnTo>
                  <a:lnTo>
                    <a:pt x="260" y="455"/>
                  </a:lnTo>
                  <a:lnTo>
                    <a:pt x="239" y="507"/>
                  </a:lnTo>
                  <a:lnTo>
                    <a:pt x="227" y="564"/>
                  </a:lnTo>
                  <a:lnTo>
                    <a:pt x="223" y="623"/>
                  </a:lnTo>
                  <a:lnTo>
                    <a:pt x="0" y="623"/>
                  </a:lnTo>
                  <a:lnTo>
                    <a:pt x="5" y="545"/>
                  </a:lnTo>
                  <a:lnTo>
                    <a:pt x="18" y="469"/>
                  </a:lnTo>
                  <a:lnTo>
                    <a:pt x="41" y="397"/>
                  </a:lnTo>
                  <a:lnTo>
                    <a:pt x="72" y="330"/>
                  </a:lnTo>
                  <a:lnTo>
                    <a:pt x="111" y="266"/>
                  </a:lnTo>
                  <a:lnTo>
                    <a:pt x="157" y="209"/>
                  </a:lnTo>
                  <a:lnTo>
                    <a:pt x="209" y="157"/>
                  </a:lnTo>
                  <a:lnTo>
                    <a:pt x="267" y="111"/>
                  </a:lnTo>
                  <a:lnTo>
                    <a:pt x="330" y="73"/>
                  </a:lnTo>
                  <a:lnTo>
                    <a:pt x="398" y="42"/>
                  </a:lnTo>
                  <a:lnTo>
                    <a:pt x="470" y="19"/>
                  </a:lnTo>
                  <a:lnTo>
                    <a:pt x="545" y="5"/>
                  </a:lnTo>
                  <a:lnTo>
                    <a:pt x="623" y="0"/>
                  </a:lnTo>
                  <a:close/>
                </a:path>
              </a:pathLst>
            </a:custGeom>
            <a:solidFill>
              <a:srgbClr val="42BA97"/>
            </a:solidFill>
            <a:ln w="0">
              <a:solidFill>
                <a:srgbClr val="42BA9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Freeform 591">
              <a:extLst>
                <a:ext uri="{FF2B5EF4-FFF2-40B4-BE49-F238E27FC236}">
                  <a16:creationId xmlns="" xmlns:a16="http://schemas.microsoft.com/office/drawing/2014/main" id="{91BDC76A-DF7A-A144-9486-D7320A16CB5E}"/>
                </a:ext>
              </a:extLst>
            </p:cNvPr>
            <p:cNvSpPr>
              <a:spLocks/>
            </p:cNvSpPr>
            <p:nvPr/>
          </p:nvSpPr>
          <p:spPr bwMode="auto">
            <a:xfrm>
              <a:off x="2968534" y="2794344"/>
              <a:ext cx="2057400" cy="1244600"/>
            </a:xfrm>
            <a:custGeom>
              <a:avLst/>
              <a:gdLst>
                <a:gd name="T0" fmla="*/ 1135 w 1296"/>
                <a:gd name="T1" fmla="*/ 0 h 784"/>
                <a:gd name="T2" fmla="*/ 1296 w 1296"/>
                <a:gd name="T3" fmla="*/ 160 h 784"/>
                <a:gd name="T4" fmla="*/ 1247 w 1296"/>
                <a:gd name="T5" fmla="*/ 160 h 784"/>
                <a:gd name="T6" fmla="*/ 1242 w 1296"/>
                <a:gd name="T7" fmla="*/ 239 h 784"/>
                <a:gd name="T8" fmla="*/ 1227 w 1296"/>
                <a:gd name="T9" fmla="*/ 314 h 784"/>
                <a:gd name="T10" fmla="*/ 1204 w 1296"/>
                <a:gd name="T11" fmla="*/ 386 h 784"/>
                <a:gd name="T12" fmla="*/ 1173 w 1296"/>
                <a:gd name="T13" fmla="*/ 453 h 784"/>
                <a:gd name="T14" fmla="*/ 1135 w 1296"/>
                <a:gd name="T15" fmla="*/ 517 h 784"/>
                <a:gd name="T16" fmla="*/ 1089 w 1296"/>
                <a:gd name="T17" fmla="*/ 574 h 784"/>
                <a:gd name="T18" fmla="*/ 1037 w 1296"/>
                <a:gd name="T19" fmla="*/ 626 h 784"/>
                <a:gd name="T20" fmla="*/ 980 w 1296"/>
                <a:gd name="T21" fmla="*/ 672 h 784"/>
                <a:gd name="T22" fmla="*/ 916 w 1296"/>
                <a:gd name="T23" fmla="*/ 712 h 784"/>
                <a:gd name="T24" fmla="*/ 849 w 1296"/>
                <a:gd name="T25" fmla="*/ 743 h 784"/>
                <a:gd name="T26" fmla="*/ 777 w 1296"/>
                <a:gd name="T27" fmla="*/ 766 h 784"/>
                <a:gd name="T28" fmla="*/ 702 w 1296"/>
                <a:gd name="T29" fmla="*/ 779 h 784"/>
                <a:gd name="T30" fmla="*/ 623 w 1296"/>
                <a:gd name="T31" fmla="*/ 784 h 784"/>
                <a:gd name="T32" fmla="*/ 545 w 1296"/>
                <a:gd name="T33" fmla="*/ 779 h 784"/>
                <a:gd name="T34" fmla="*/ 470 w 1296"/>
                <a:gd name="T35" fmla="*/ 766 h 784"/>
                <a:gd name="T36" fmla="*/ 398 w 1296"/>
                <a:gd name="T37" fmla="*/ 743 h 784"/>
                <a:gd name="T38" fmla="*/ 331 w 1296"/>
                <a:gd name="T39" fmla="*/ 712 h 784"/>
                <a:gd name="T40" fmla="*/ 267 w 1296"/>
                <a:gd name="T41" fmla="*/ 672 h 784"/>
                <a:gd name="T42" fmla="*/ 209 w 1296"/>
                <a:gd name="T43" fmla="*/ 626 h 784"/>
                <a:gd name="T44" fmla="*/ 157 w 1296"/>
                <a:gd name="T45" fmla="*/ 574 h 784"/>
                <a:gd name="T46" fmla="*/ 111 w 1296"/>
                <a:gd name="T47" fmla="*/ 517 h 784"/>
                <a:gd name="T48" fmla="*/ 72 w 1296"/>
                <a:gd name="T49" fmla="*/ 453 h 784"/>
                <a:gd name="T50" fmla="*/ 41 w 1296"/>
                <a:gd name="T51" fmla="*/ 386 h 784"/>
                <a:gd name="T52" fmla="*/ 18 w 1296"/>
                <a:gd name="T53" fmla="*/ 314 h 784"/>
                <a:gd name="T54" fmla="*/ 5 w 1296"/>
                <a:gd name="T55" fmla="*/ 239 h 784"/>
                <a:gd name="T56" fmla="*/ 0 w 1296"/>
                <a:gd name="T57" fmla="*/ 160 h 784"/>
                <a:gd name="T58" fmla="*/ 223 w 1296"/>
                <a:gd name="T59" fmla="*/ 160 h 784"/>
                <a:gd name="T60" fmla="*/ 227 w 1296"/>
                <a:gd name="T61" fmla="*/ 219 h 784"/>
                <a:gd name="T62" fmla="*/ 239 w 1296"/>
                <a:gd name="T63" fmla="*/ 276 h 784"/>
                <a:gd name="T64" fmla="*/ 260 w 1296"/>
                <a:gd name="T65" fmla="*/ 329 h 784"/>
                <a:gd name="T66" fmla="*/ 286 w 1296"/>
                <a:gd name="T67" fmla="*/ 379 h 784"/>
                <a:gd name="T68" fmla="*/ 321 w 1296"/>
                <a:gd name="T69" fmla="*/ 424 h 784"/>
                <a:gd name="T70" fmla="*/ 360 w 1296"/>
                <a:gd name="T71" fmla="*/ 463 h 784"/>
                <a:gd name="T72" fmla="*/ 404 w 1296"/>
                <a:gd name="T73" fmla="*/ 497 h 784"/>
                <a:gd name="T74" fmla="*/ 455 w 1296"/>
                <a:gd name="T75" fmla="*/ 523 h 784"/>
                <a:gd name="T76" fmla="*/ 507 w 1296"/>
                <a:gd name="T77" fmla="*/ 545 h 784"/>
                <a:gd name="T78" fmla="*/ 564 w 1296"/>
                <a:gd name="T79" fmla="*/ 556 h 784"/>
                <a:gd name="T80" fmla="*/ 623 w 1296"/>
                <a:gd name="T81" fmla="*/ 561 h 784"/>
                <a:gd name="T82" fmla="*/ 682 w 1296"/>
                <a:gd name="T83" fmla="*/ 556 h 784"/>
                <a:gd name="T84" fmla="*/ 739 w 1296"/>
                <a:gd name="T85" fmla="*/ 545 h 784"/>
                <a:gd name="T86" fmla="*/ 792 w 1296"/>
                <a:gd name="T87" fmla="*/ 523 h 784"/>
                <a:gd name="T88" fmla="*/ 841 w 1296"/>
                <a:gd name="T89" fmla="*/ 497 h 784"/>
                <a:gd name="T90" fmla="*/ 887 w 1296"/>
                <a:gd name="T91" fmla="*/ 463 h 784"/>
                <a:gd name="T92" fmla="*/ 926 w 1296"/>
                <a:gd name="T93" fmla="*/ 424 h 784"/>
                <a:gd name="T94" fmla="*/ 959 w 1296"/>
                <a:gd name="T95" fmla="*/ 379 h 784"/>
                <a:gd name="T96" fmla="*/ 986 w 1296"/>
                <a:gd name="T97" fmla="*/ 329 h 784"/>
                <a:gd name="T98" fmla="*/ 1006 w 1296"/>
                <a:gd name="T99" fmla="*/ 276 h 784"/>
                <a:gd name="T100" fmla="*/ 1019 w 1296"/>
                <a:gd name="T101" fmla="*/ 219 h 784"/>
                <a:gd name="T102" fmla="*/ 1024 w 1296"/>
                <a:gd name="T103" fmla="*/ 160 h 784"/>
                <a:gd name="T104" fmla="*/ 975 w 1296"/>
                <a:gd name="T105" fmla="*/ 160 h 784"/>
                <a:gd name="T106" fmla="*/ 1135 w 1296"/>
                <a:gd name="T107"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6" h="784">
                  <a:moveTo>
                    <a:pt x="1135" y="0"/>
                  </a:moveTo>
                  <a:lnTo>
                    <a:pt x="1296" y="160"/>
                  </a:lnTo>
                  <a:lnTo>
                    <a:pt x="1247" y="160"/>
                  </a:lnTo>
                  <a:lnTo>
                    <a:pt x="1242" y="239"/>
                  </a:lnTo>
                  <a:lnTo>
                    <a:pt x="1227" y="314"/>
                  </a:lnTo>
                  <a:lnTo>
                    <a:pt x="1204" y="386"/>
                  </a:lnTo>
                  <a:lnTo>
                    <a:pt x="1173" y="453"/>
                  </a:lnTo>
                  <a:lnTo>
                    <a:pt x="1135" y="517"/>
                  </a:lnTo>
                  <a:lnTo>
                    <a:pt x="1089" y="574"/>
                  </a:lnTo>
                  <a:lnTo>
                    <a:pt x="1037" y="626"/>
                  </a:lnTo>
                  <a:lnTo>
                    <a:pt x="980" y="672"/>
                  </a:lnTo>
                  <a:lnTo>
                    <a:pt x="916" y="712"/>
                  </a:lnTo>
                  <a:lnTo>
                    <a:pt x="849" y="743"/>
                  </a:lnTo>
                  <a:lnTo>
                    <a:pt x="777" y="766"/>
                  </a:lnTo>
                  <a:lnTo>
                    <a:pt x="702" y="779"/>
                  </a:lnTo>
                  <a:lnTo>
                    <a:pt x="623" y="784"/>
                  </a:lnTo>
                  <a:lnTo>
                    <a:pt x="545" y="779"/>
                  </a:lnTo>
                  <a:lnTo>
                    <a:pt x="470" y="766"/>
                  </a:lnTo>
                  <a:lnTo>
                    <a:pt x="398" y="743"/>
                  </a:lnTo>
                  <a:lnTo>
                    <a:pt x="331" y="712"/>
                  </a:lnTo>
                  <a:lnTo>
                    <a:pt x="267" y="672"/>
                  </a:lnTo>
                  <a:lnTo>
                    <a:pt x="209" y="626"/>
                  </a:lnTo>
                  <a:lnTo>
                    <a:pt x="157" y="574"/>
                  </a:lnTo>
                  <a:lnTo>
                    <a:pt x="111" y="517"/>
                  </a:lnTo>
                  <a:lnTo>
                    <a:pt x="72" y="453"/>
                  </a:lnTo>
                  <a:lnTo>
                    <a:pt x="41" y="386"/>
                  </a:lnTo>
                  <a:lnTo>
                    <a:pt x="18" y="314"/>
                  </a:lnTo>
                  <a:lnTo>
                    <a:pt x="5" y="239"/>
                  </a:lnTo>
                  <a:lnTo>
                    <a:pt x="0" y="160"/>
                  </a:lnTo>
                  <a:lnTo>
                    <a:pt x="223" y="160"/>
                  </a:lnTo>
                  <a:lnTo>
                    <a:pt x="227" y="219"/>
                  </a:lnTo>
                  <a:lnTo>
                    <a:pt x="239" y="276"/>
                  </a:lnTo>
                  <a:lnTo>
                    <a:pt x="260" y="329"/>
                  </a:lnTo>
                  <a:lnTo>
                    <a:pt x="286" y="379"/>
                  </a:lnTo>
                  <a:lnTo>
                    <a:pt x="321" y="424"/>
                  </a:lnTo>
                  <a:lnTo>
                    <a:pt x="360" y="463"/>
                  </a:lnTo>
                  <a:lnTo>
                    <a:pt x="404" y="497"/>
                  </a:lnTo>
                  <a:lnTo>
                    <a:pt x="455" y="523"/>
                  </a:lnTo>
                  <a:lnTo>
                    <a:pt x="507" y="545"/>
                  </a:lnTo>
                  <a:lnTo>
                    <a:pt x="564" y="556"/>
                  </a:lnTo>
                  <a:lnTo>
                    <a:pt x="623" y="561"/>
                  </a:lnTo>
                  <a:lnTo>
                    <a:pt x="682" y="556"/>
                  </a:lnTo>
                  <a:lnTo>
                    <a:pt x="739" y="545"/>
                  </a:lnTo>
                  <a:lnTo>
                    <a:pt x="792" y="523"/>
                  </a:lnTo>
                  <a:lnTo>
                    <a:pt x="841" y="497"/>
                  </a:lnTo>
                  <a:lnTo>
                    <a:pt x="887" y="463"/>
                  </a:lnTo>
                  <a:lnTo>
                    <a:pt x="926" y="424"/>
                  </a:lnTo>
                  <a:lnTo>
                    <a:pt x="959" y="379"/>
                  </a:lnTo>
                  <a:lnTo>
                    <a:pt x="986" y="329"/>
                  </a:lnTo>
                  <a:lnTo>
                    <a:pt x="1006" y="276"/>
                  </a:lnTo>
                  <a:lnTo>
                    <a:pt x="1019" y="219"/>
                  </a:lnTo>
                  <a:lnTo>
                    <a:pt x="1024" y="160"/>
                  </a:lnTo>
                  <a:lnTo>
                    <a:pt x="975" y="160"/>
                  </a:lnTo>
                  <a:lnTo>
                    <a:pt x="1135" y="0"/>
                  </a:lnTo>
                  <a:close/>
                </a:path>
              </a:pathLst>
            </a:custGeom>
            <a:solidFill>
              <a:srgbClr val="2683C6"/>
            </a:solidFill>
            <a:ln w="0">
              <a:solidFill>
                <a:srgbClr val="2683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0" name="Freeform 69">
            <a:extLst>
              <a:ext uri="{FF2B5EF4-FFF2-40B4-BE49-F238E27FC236}">
                <a16:creationId xmlns="" xmlns:a16="http://schemas.microsoft.com/office/drawing/2014/main" id="{8D0AF492-5BCD-7848-8811-7207404BFDE1}"/>
              </a:ext>
            </a:extLst>
          </p:cNvPr>
          <p:cNvSpPr>
            <a:spLocks noEditPoints="1"/>
          </p:cNvSpPr>
          <p:nvPr/>
        </p:nvSpPr>
        <p:spPr bwMode="auto">
          <a:xfrm>
            <a:off x="3415114" y="1479422"/>
            <a:ext cx="427478" cy="641218"/>
          </a:xfrm>
          <a:custGeom>
            <a:avLst/>
            <a:gdLst>
              <a:gd name="T0" fmla="*/ 34 w 64"/>
              <a:gd name="T1" fmla="*/ 1 h 96"/>
              <a:gd name="T2" fmla="*/ 30 w 64"/>
              <a:gd name="T3" fmla="*/ 1 h 96"/>
              <a:gd name="T4" fmla="*/ 0 w 64"/>
              <a:gd name="T5" fmla="*/ 64 h 96"/>
              <a:gd name="T6" fmla="*/ 32 w 64"/>
              <a:gd name="T7" fmla="*/ 96 h 96"/>
              <a:gd name="T8" fmla="*/ 64 w 64"/>
              <a:gd name="T9" fmla="*/ 64 h 96"/>
              <a:gd name="T10" fmla="*/ 34 w 64"/>
              <a:gd name="T11" fmla="*/ 1 h 96"/>
              <a:gd name="T12" fmla="*/ 26 w 64"/>
              <a:gd name="T13" fmla="*/ 39 h 96"/>
              <a:gd name="T14" fmla="*/ 16 w 64"/>
              <a:gd name="T15" fmla="*/ 64 h 96"/>
              <a:gd name="T16" fmla="*/ 21 w 64"/>
              <a:gd name="T17" fmla="*/ 76 h 96"/>
              <a:gd name="T18" fmla="*/ 21 w 64"/>
              <a:gd name="T19" fmla="*/ 79 h 96"/>
              <a:gd name="T20" fmla="*/ 20 w 64"/>
              <a:gd name="T21" fmla="*/ 79 h 96"/>
              <a:gd name="T22" fmla="*/ 19 w 64"/>
              <a:gd name="T23" fmla="*/ 79 h 96"/>
              <a:gd name="T24" fmla="*/ 12 w 64"/>
              <a:gd name="T25" fmla="*/ 64 h 96"/>
              <a:gd name="T26" fmla="*/ 22 w 64"/>
              <a:gd name="T27" fmla="*/ 37 h 96"/>
              <a:gd name="T28" fmla="*/ 25 w 64"/>
              <a:gd name="T29" fmla="*/ 36 h 96"/>
              <a:gd name="T30" fmla="*/ 26 w 64"/>
              <a:gd name="T3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96">
                <a:moveTo>
                  <a:pt x="34" y="1"/>
                </a:moveTo>
                <a:cubicBezTo>
                  <a:pt x="33" y="0"/>
                  <a:pt x="31" y="0"/>
                  <a:pt x="30" y="1"/>
                </a:cubicBezTo>
                <a:cubicBezTo>
                  <a:pt x="29" y="3"/>
                  <a:pt x="0" y="47"/>
                  <a:pt x="0" y="64"/>
                </a:cubicBezTo>
                <a:cubicBezTo>
                  <a:pt x="0" y="82"/>
                  <a:pt x="14" y="96"/>
                  <a:pt x="32" y="96"/>
                </a:cubicBezTo>
                <a:cubicBezTo>
                  <a:pt x="50" y="96"/>
                  <a:pt x="64" y="82"/>
                  <a:pt x="64" y="64"/>
                </a:cubicBezTo>
                <a:cubicBezTo>
                  <a:pt x="64" y="47"/>
                  <a:pt x="35" y="3"/>
                  <a:pt x="34" y="1"/>
                </a:cubicBezTo>
                <a:close/>
                <a:moveTo>
                  <a:pt x="26" y="39"/>
                </a:moveTo>
                <a:cubicBezTo>
                  <a:pt x="17" y="55"/>
                  <a:pt x="16" y="62"/>
                  <a:pt x="16" y="64"/>
                </a:cubicBezTo>
                <a:cubicBezTo>
                  <a:pt x="16" y="69"/>
                  <a:pt x="18" y="73"/>
                  <a:pt x="21" y="76"/>
                </a:cubicBezTo>
                <a:cubicBezTo>
                  <a:pt x="22" y="77"/>
                  <a:pt x="22" y="78"/>
                  <a:pt x="21" y="79"/>
                </a:cubicBezTo>
                <a:cubicBezTo>
                  <a:pt x="21" y="79"/>
                  <a:pt x="21" y="79"/>
                  <a:pt x="20" y="79"/>
                </a:cubicBezTo>
                <a:cubicBezTo>
                  <a:pt x="20" y="79"/>
                  <a:pt x="19" y="79"/>
                  <a:pt x="19" y="79"/>
                </a:cubicBezTo>
                <a:cubicBezTo>
                  <a:pt x="14" y="75"/>
                  <a:pt x="12" y="70"/>
                  <a:pt x="12" y="64"/>
                </a:cubicBezTo>
                <a:cubicBezTo>
                  <a:pt x="12" y="59"/>
                  <a:pt x="15" y="50"/>
                  <a:pt x="22" y="37"/>
                </a:cubicBezTo>
                <a:cubicBezTo>
                  <a:pt x="23" y="36"/>
                  <a:pt x="24" y="36"/>
                  <a:pt x="25" y="36"/>
                </a:cubicBezTo>
                <a:cubicBezTo>
                  <a:pt x="26" y="37"/>
                  <a:pt x="26" y="38"/>
                  <a:pt x="26" y="39"/>
                </a:cubicBezTo>
                <a:close/>
              </a:path>
            </a:pathLst>
          </a:custGeom>
          <a:solidFill>
            <a:srgbClr val="226393"/>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70">
            <a:extLst>
              <a:ext uri="{FF2B5EF4-FFF2-40B4-BE49-F238E27FC236}">
                <a16:creationId xmlns="" xmlns:a16="http://schemas.microsoft.com/office/drawing/2014/main" id="{38043FDF-F317-8746-9CBA-80355389F366}"/>
              </a:ext>
            </a:extLst>
          </p:cNvPr>
          <p:cNvSpPr>
            <a:spLocks noEditPoints="1"/>
          </p:cNvSpPr>
          <p:nvPr/>
        </p:nvSpPr>
        <p:spPr bwMode="auto">
          <a:xfrm>
            <a:off x="4911273" y="1513910"/>
            <a:ext cx="638405" cy="534348"/>
          </a:xfrm>
          <a:custGeom>
            <a:avLst/>
            <a:gdLst>
              <a:gd name="T0" fmla="*/ 86 w 96"/>
              <a:gd name="T1" fmla="*/ 12 h 80"/>
              <a:gd name="T2" fmla="*/ 64 w 96"/>
              <a:gd name="T3" fmla="*/ 12 h 80"/>
              <a:gd name="T4" fmla="*/ 64 w 96"/>
              <a:gd name="T5" fmla="*/ 8 h 80"/>
              <a:gd name="T6" fmla="*/ 56 w 96"/>
              <a:gd name="T7" fmla="*/ 0 h 80"/>
              <a:gd name="T8" fmla="*/ 40 w 96"/>
              <a:gd name="T9" fmla="*/ 0 h 80"/>
              <a:gd name="T10" fmla="*/ 32 w 96"/>
              <a:gd name="T11" fmla="*/ 8 h 80"/>
              <a:gd name="T12" fmla="*/ 32 w 96"/>
              <a:gd name="T13" fmla="*/ 12 h 80"/>
              <a:gd name="T14" fmla="*/ 10 w 96"/>
              <a:gd name="T15" fmla="*/ 12 h 80"/>
              <a:gd name="T16" fmla="*/ 0 w 96"/>
              <a:gd name="T17" fmla="*/ 22 h 80"/>
              <a:gd name="T18" fmla="*/ 0 w 96"/>
              <a:gd name="T19" fmla="*/ 70 h 80"/>
              <a:gd name="T20" fmla="*/ 10 w 96"/>
              <a:gd name="T21" fmla="*/ 80 h 80"/>
              <a:gd name="T22" fmla="*/ 86 w 96"/>
              <a:gd name="T23" fmla="*/ 80 h 80"/>
              <a:gd name="T24" fmla="*/ 96 w 96"/>
              <a:gd name="T25" fmla="*/ 70 h 80"/>
              <a:gd name="T26" fmla="*/ 96 w 96"/>
              <a:gd name="T27" fmla="*/ 22 h 80"/>
              <a:gd name="T28" fmla="*/ 86 w 96"/>
              <a:gd name="T29" fmla="*/ 12 h 80"/>
              <a:gd name="T30" fmla="*/ 36 w 96"/>
              <a:gd name="T31" fmla="*/ 8 h 80"/>
              <a:gd name="T32" fmla="*/ 40 w 96"/>
              <a:gd name="T33" fmla="*/ 4 h 80"/>
              <a:gd name="T34" fmla="*/ 56 w 96"/>
              <a:gd name="T35" fmla="*/ 4 h 80"/>
              <a:gd name="T36" fmla="*/ 60 w 96"/>
              <a:gd name="T37" fmla="*/ 8 h 80"/>
              <a:gd name="T38" fmla="*/ 60 w 96"/>
              <a:gd name="T39" fmla="*/ 12 h 80"/>
              <a:gd name="T40" fmla="*/ 36 w 96"/>
              <a:gd name="T41" fmla="*/ 12 h 80"/>
              <a:gd name="T42" fmla="*/ 36 w 96"/>
              <a:gd name="T43" fmla="*/ 8 h 80"/>
              <a:gd name="T44" fmla="*/ 68 w 96"/>
              <a:gd name="T45" fmla="*/ 54 h 80"/>
              <a:gd name="T46" fmla="*/ 66 w 96"/>
              <a:gd name="T47" fmla="*/ 56 h 80"/>
              <a:gd name="T48" fmla="*/ 56 w 96"/>
              <a:gd name="T49" fmla="*/ 56 h 80"/>
              <a:gd name="T50" fmla="*/ 56 w 96"/>
              <a:gd name="T51" fmla="*/ 66 h 80"/>
              <a:gd name="T52" fmla="*/ 54 w 96"/>
              <a:gd name="T53" fmla="*/ 68 h 80"/>
              <a:gd name="T54" fmla="*/ 42 w 96"/>
              <a:gd name="T55" fmla="*/ 68 h 80"/>
              <a:gd name="T56" fmla="*/ 40 w 96"/>
              <a:gd name="T57" fmla="*/ 66 h 80"/>
              <a:gd name="T58" fmla="*/ 40 w 96"/>
              <a:gd name="T59" fmla="*/ 56 h 80"/>
              <a:gd name="T60" fmla="*/ 30 w 96"/>
              <a:gd name="T61" fmla="*/ 56 h 80"/>
              <a:gd name="T62" fmla="*/ 28 w 96"/>
              <a:gd name="T63" fmla="*/ 54 h 80"/>
              <a:gd name="T64" fmla="*/ 28 w 96"/>
              <a:gd name="T65" fmla="*/ 42 h 80"/>
              <a:gd name="T66" fmla="*/ 30 w 96"/>
              <a:gd name="T67" fmla="*/ 40 h 80"/>
              <a:gd name="T68" fmla="*/ 40 w 96"/>
              <a:gd name="T69" fmla="*/ 40 h 80"/>
              <a:gd name="T70" fmla="*/ 40 w 96"/>
              <a:gd name="T71" fmla="*/ 30 h 80"/>
              <a:gd name="T72" fmla="*/ 42 w 96"/>
              <a:gd name="T73" fmla="*/ 28 h 80"/>
              <a:gd name="T74" fmla="*/ 54 w 96"/>
              <a:gd name="T75" fmla="*/ 28 h 80"/>
              <a:gd name="T76" fmla="*/ 56 w 96"/>
              <a:gd name="T77" fmla="*/ 30 h 80"/>
              <a:gd name="T78" fmla="*/ 56 w 96"/>
              <a:gd name="T79" fmla="*/ 40 h 80"/>
              <a:gd name="T80" fmla="*/ 66 w 96"/>
              <a:gd name="T81" fmla="*/ 40 h 80"/>
              <a:gd name="T82" fmla="*/ 68 w 96"/>
              <a:gd name="T83" fmla="*/ 42 h 80"/>
              <a:gd name="T84" fmla="*/ 68 w 96"/>
              <a:gd name="T85"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80">
                <a:moveTo>
                  <a:pt x="86" y="12"/>
                </a:moveTo>
                <a:cubicBezTo>
                  <a:pt x="64" y="12"/>
                  <a:pt x="64" y="12"/>
                  <a:pt x="64" y="12"/>
                </a:cubicBezTo>
                <a:cubicBezTo>
                  <a:pt x="64" y="8"/>
                  <a:pt x="64" y="8"/>
                  <a:pt x="64" y="8"/>
                </a:cubicBezTo>
                <a:cubicBezTo>
                  <a:pt x="64" y="4"/>
                  <a:pt x="60" y="0"/>
                  <a:pt x="56" y="0"/>
                </a:cubicBezTo>
                <a:cubicBezTo>
                  <a:pt x="40" y="0"/>
                  <a:pt x="40" y="0"/>
                  <a:pt x="40" y="0"/>
                </a:cubicBezTo>
                <a:cubicBezTo>
                  <a:pt x="36" y="0"/>
                  <a:pt x="32" y="4"/>
                  <a:pt x="32" y="8"/>
                </a:cubicBezTo>
                <a:cubicBezTo>
                  <a:pt x="32" y="12"/>
                  <a:pt x="32" y="12"/>
                  <a:pt x="32" y="12"/>
                </a:cubicBezTo>
                <a:cubicBezTo>
                  <a:pt x="10" y="12"/>
                  <a:pt x="10" y="12"/>
                  <a:pt x="10" y="12"/>
                </a:cubicBezTo>
                <a:cubicBezTo>
                  <a:pt x="4" y="12"/>
                  <a:pt x="0" y="17"/>
                  <a:pt x="0" y="22"/>
                </a:cubicBezTo>
                <a:cubicBezTo>
                  <a:pt x="0" y="70"/>
                  <a:pt x="0" y="70"/>
                  <a:pt x="0" y="70"/>
                </a:cubicBezTo>
                <a:cubicBezTo>
                  <a:pt x="0" y="76"/>
                  <a:pt x="4" y="80"/>
                  <a:pt x="10" y="80"/>
                </a:cubicBezTo>
                <a:cubicBezTo>
                  <a:pt x="86" y="80"/>
                  <a:pt x="86" y="80"/>
                  <a:pt x="86" y="80"/>
                </a:cubicBezTo>
                <a:cubicBezTo>
                  <a:pt x="92" y="80"/>
                  <a:pt x="96" y="76"/>
                  <a:pt x="96" y="70"/>
                </a:cubicBezTo>
                <a:cubicBezTo>
                  <a:pt x="96" y="22"/>
                  <a:pt x="96" y="22"/>
                  <a:pt x="96" y="22"/>
                </a:cubicBezTo>
                <a:cubicBezTo>
                  <a:pt x="96" y="17"/>
                  <a:pt x="92" y="12"/>
                  <a:pt x="86" y="12"/>
                </a:cubicBezTo>
                <a:close/>
                <a:moveTo>
                  <a:pt x="36" y="8"/>
                </a:moveTo>
                <a:cubicBezTo>
                  <a:pt x="36" y="6"/>
                  <a:pt x="38" y="4"/>
                  <a:pt x="40" y="4"/>
                </a:cubicBezTo>
                <a:cubicBezTo>
                  <a:pt x="56" y="4"/>
                  <a:pt x="56" y="4"/>
                  <a:pt x="56" y="4"/>
                </a:cubicBezTo>
                <a:cubicBezTo>
                  <a:pt x="58" y="4"/>
                  <a:pt x="60" y="6"/>
                  <a:pt x="60" y="8"/>
                </a:cubicBezTo>
                <a:cubicBezTo>
                  <a:pt x="60" y="12"/>
                  <a:pt x="60" y="12"/>
                  <a:pt x="60" y="12"/>
                </a:cubicBezTo>
                <a:cubicBezTo>
                  <a:pt x="36" y="12"/>
                  <a:pt x="36" y="12"/>
                  <a:pt x="36" y="12"/>
                </a:cubicBezTo>
                <a:lnTo>
                  <a:pt x="36" y="8"/>
                </a:lnTo>
                <a:close/>
                <a:moveTo>
                  <a:pt x="68" y="54"/>
                </a:moveTo>
                <a:cubicBezTo>
                  <a:pt x="68" y="55"/>
                  <a:pt x="67" y="56"/>
                  <a:pt x="66" y="56"/>
                </a:cubicBezTo>
                <a:cubicBezTo>
                  <a:pt x="56" y="56"/>
                  <a:pt x="56" y="56"/>
                  <a:pt x="56" y="56"/>
                </a:cubicBezTo>
                <a:cubicBezTo>
                  <a:pt x="56" y="66"/>
                  <a:pt x="56" y="66"/>
                  <a:pt x="56" y="66"/>
                </a:cubicBezTo>
                <a:cubicBezTo>
                  <a:pt x="56" y="67"/>
                  <a:pt x="55" y="68"/>
                  <a:pt x="54" y="68"/>
                </a:cubicBezTo>
                <a:cubicBezTo>
                  <a:pt x="42" y="68"/>
                  <a:pt x="42" y="68"/>
                  <a:pt x="42" y="68"/>
                </a:cubicBezTo>
                <a:cubicBezTo>
                  <a:pt x="41" y="68"/>
                  <a:pt x="40" y="67"/>
                  <a:pt x="40" y="66"/>
                </a:cubicBezTo>
                <a:cubicBezTo>
                  <a:pt x="40" y="56"/>
                  <a:pt x="40" y="56"/>
                  <a:pt x="40" y="56"/>
                </a:cubicBezTo>
                <a:cubicBezTo>
                  <a:pt x="30" y="56"/>
                  <a:pt x="30" y="56"/>
                  <a:pt x="30" y="56"/>
                </a:cubicBezTo>
                <a:cubicBezTo>
                  <a:pt x="29" y="56"/>
                  <a:pt x="28" y="55"/>
                  <a:pt x="28" y="54"/>
                </a:cubicBezTo>
                <a:cubicBezTo>
                  <a:pt x="28" y="42"/>
                  <a:pt x="28" y="42"/>
                  <a:pt x="28" y="42"/>
                </a:cubicBezTo>
                <a:cubicBezTo>
                  <a:pt x="28" y="41"/>
                  <a:pt x="29" y="40"/>
                  <a:pt x="30" y="40"/>
                </a:cubicBezTo>
                <a:cubicBezTo>
                  <a:pt x="40" y="40"/>
                  <a:pt x="40" y="40"/>
                  <a:pt x="40" y="40"/>
                </a:cubicBezTo>
                <a:cubicBezTo>
                  <a:pt x="40" y="30"/>
                  <a:pt x="40" y="30"/>
                  <a:pt x="40" y="30"/>
                </a:cubicBezTo>
                <a:cubicBezTo>
                  <a:pt x="40" y="29"/>
                  <a:pt x="41" y="28"/>
                  <a:pt x="42" y="28"/>
                </a:cubicBezTo>
                <a:cubicBezTo>
                  <a:pt x="54" y="28"/>
                  <a:pt x="54" y="28"/>
                  <a:pt x="54" y="28"/>
                </a:cubicBezTo>
                <a:cubicBezTo>
                  <a:pt x="55" y="28"/>
                  <a:pt x="56" y="29"/>
                  <a:pt x="56" y="30"/>
                </a:cubicBezTo>
                <a:cubicBezTo>
                  <a:pt x="56" y="40"/>
                  <a:pt x="56" y="40"/>
                  <a:pt x="56" y="40"/>
                </a:cubicBezTo>
                <a:cubicBezTo>
                  <a:pt x="66" y="40"/>
                  <a:pt x="66" y="40"/>
                  <a:pt x="66" y="40"/>
                </a:cubicBezTo>
                <a:cubicBezTo>
                  <a:pt x="67" y="40"/>
                  <a:pt x="68" y="41"/>
                  <a:pt x="68" y="42"/>
                </a:cubicBezTo>
                <a:lnTo>
                  <a:pt x="68" y="54"/>
                </a:lnTo>
                <a:close/>
              </a:path>
            </a:pathLst>
          </a:custGeom>
          <a:solidFill>
            <a:srgbClr val="48B997"/>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72" name="Group 71">
            <a:extLst>
              <a:ext uri="{FF2B5EF4-FFF2-40B4-BE49-F238E27FC236}">
                <a16:creationId xmlns="" xmlns:a16="http://schemas.microsoft.com/office/drawing/2014/main" id="{790E8854-E8A5-724D-BAA2-EB96EE492C41}"/>
              </a:ext>
            </a:extLst>
          </p:cNvPr>
          <p:cNvGrpSpPr/>
          <p:nvPr/>
        </p:nvGrpSpPr>
        <p:grpSpPr>
          <a:xfrm>
            <a:off x="8287137" y="1479422"/>
            <a:ext cx="503412" cy="641218"/>
            <a:chOff x="8475663" y="2554288"/>
            <a:chExt cx="284163" cy="361950"/>
          </a:xfrm>
          <a:solidFill>
            <a:srgbClr val="64A39F"/>
          </a:solidFill>
        </p:grpSpPr>
        <p:sp>
          <p:nvSpPr>
            <p:cNvPr id="79" name="Freeform 78">
              <a:extLst>
                <a:ext uri="{FF2B5EF4-FFF2-40B4-BE49-F238E27FC236}">
                  <a16:creationId xmlns="" xmlns:a16="http://schemas.microsoft.com/office/drawing/2014/main" id="{E1843A7C-7C12-1F42-93C2-AE1997579B0C}"/>
                </a:ext>
              </a:extLst>
            </p:cNvPr>
            <p:cNvSpPr>
              <a:spLocks/>
            </p:cNvSpPr>
            <p:nvPr/>
          </p:nvSpPr>
          <p:spPr bwMode="auto">
            <a:xfrm>
              <a:off x="8520113" y="2554288"/>
              <a:ext cx="195263" cy="104775"/>
            </a:xfrm>
            <a:custGeom>
              <a:avLst/>
              <a:gdLst>
                <a:gd name="T0" fmla="*/ 52 w 52"/>
                <a:gd name="T1" fmla="*/ 28 h 28"/>
                <a:gd name="T2" fmla="*/ 50 w 52"/>
                <a:gd name="T3" fmla="*/ 23 h 28"/>
                <a:gd name="T4" fmla="*/ 48 w 52"/>
                <a:gd name="T5" fmla="*/ 22 h 28"/>
                <a:gd name="T6" fmla="*/ 33 w 52"/>
                <a:gd name="T7" fmla="*/ 22 h 28"/>
                <a:gd name="T8" fmla="*/ 38 w 52"/>
                <a:gd name="T9" fmla="*/ 12 h 28"/>
                <a:gd name="T10" fmla="*/ 26 w 52"/>
                <a:gd name="T11" fmla="*/ 0 h 28"/>
                <a:gd name="T12" fmla="*/ 14 w 52"/>
                <a:gd name="T13" fmla="*/ 12 h 28"/>
                <a:gd name="T14" fmla="*/ 19 w 52"/>
                <a:gd name="T15" fmla="*/ 22 h 28"/>
                <a:gd name="T16" fmla="*/ 4 w 52"/>
                <a:gd name="T17" fmla="*/ 22 h 28"/>
                <a:gd name="T18" fmla="*/ 2 w 52"/>
                <a:gd name="T19" fmla="*/ 23 h 28"/>
                <a:gd name="T20" fmla="*/ 0 w 52"/>
                <a:gd name="T21" fmla="*/ 28 h 28"/>
                <a:gd name="T22" fmla="*/ 52 w 52"/>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8">
                  <a:moveTo>
                    <a:pt x="52" y="28"/>
                  </a:moveTo>
                  <a:cubicBezTo>
                    <a:pt x="50" y="23"/>
                    <a:pt x="50" y="23"/>
                    <a:pt x="50" y="23"/>
                  </a:cubicBezTo>
                  <a:cubicBezTo>
                    <a:pt x="49" y="22"/>
                    <a:pt x="49" y="22"/>
                    <a:pt x="48" y="22"/>
                  </a:cubicBezTo>
                  <a:cubicBezTo>
                    <a:pt x="33" y="22"/>
                    <a:pt x="33" y="22"/>
                    <a:pt x="33" y="22"/>
                  </a:cubicBezTo>
                  <a:cubicBezTo>
                    <a:pt x="36" y="20"/>
                    <a:pt x="38" y="16"/>
                    <a:pt x="38" y="12"/>
                  </a:cubicBezTo>
                  <a:cubicBezTo>
                    <a:pt x="38" y="5"/>
                    <a:pt x="33" y="0"/>
                    <a:pt x="26" y="0"/>
                  </a:cubicBezTo>
                  <a:cubicBezTo>
                    <a:pt x="19" y="0"/>
                    <a:pt x="14" y="5"/>
                    <a:pt x="14" y="12"/>
                  </a:cubicBezTo>
                  <a:cubicBezTo>
                    <a:pt x="14" y="16"/>
                    <a:pt x="16" y="20"/>
                    <a:pt x="19" y="22"/>
                  </a:cubicBezTo>
                  <a:cubicBezTo>
                    <a:pt x="4" y="22"/>
                    <a:pt x="4" y="22"/>
                    <a:pt x="4" y="22"/>
                  </a:cubicBezTo>
                  <a:cubicBezTo>
                    <a:pt x="3" y="22"/>
                    <a:pt x="3" y="22"/>
                    <a:pt x="2" y="23"/>
                  </a:cubicBezTo>
                  <a:cubicBezTo>
                    <a:pt x="0" y="28"/>
                    <a:pt x="0" y="28"/>
                    <a:pt x="0" y="28"/>
                  </a:cubicBezTo>
                  <a:lnTo>
                    <a:pt x="52"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79">
              <a:extLst>
                <a:ext uri="{FF2B5EF4-FFF2-40B4-BE49-F238E27FC236}">
                  <a16:creationId xmlns="" xmlns:a16="http://schemas.microsoft.com/office/drawing/2014/main" id="{8D924211-BF03-E540-8347-B8489099675D}"/>
                </a:ext>
              </a:extLst>
            </p:cNvPr>
            <p:cNvSpPr>
              <a:spLocks/>
            </p:cNvSpPr>
            <p:nvPr/>
          </p:nvSpPr>
          <p:spPr bwMode="auto">
            <a:xfrm>
              <a:off x="8561388" y="2855913"/>
              <a:ext cx="112713" cy="60325"/>
            </a:xfrm>
            <a:custGeom>
              <a:avLst/>
              <a:gdLst>
                <a:gd name="T0" fmla="*/ 0 w 30"/>
                <a:gd name="T1" fmla="*/ 0 h 16"/>
                <a:gd name="T2" fmla="*/ 3 w 30"/>
                <a:gd name="T3" fmla="*/ 14 h 16"/>
                <a:gd name="T4" fmla="*/ 5 w 30"/>
                <a:gd name="T5" fmla="*/ 16 h 16"/>
                <a:gd name="T6" fmla="*/ 25 w 30"/>
                <a:gd name="T7" fmla="*/ 16 h 16"/>
                <a:gd name="T8" fmla="*/ 27 w 30"/>
                <a:gd name="T9" fmla="*/ 14 h 16"/>
                <a:gd name="T10" fmla="*/ 30 w 30"/>
                <a:gd name="T11" fmla="*/ 0 h 16"/>
                <a:gd name="T12" fmla="*/ 0 w 3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0" h="16">
                  <a:moveTo>
                    <a:pt x="0" y="0"/>
                  </a:moveTo>
                  <a:cubicBezTo>
                    <a:pt x="3" y="14"/>
                    <a:pt x="3" y="14"/>
                    <a:pt x="3" y="14"/>
                  </a:cubicBezTo>
                  <a:cubicBezTo>
                    <a:pt x="3" y="15"/>
                    <a:pt x="4" y="16"/>
                    <a:pt x="5" y="16"/>
                  </a:cubicBezTo>
                  <a:cubicBezTo>
                    <a:pt x="25" y="16"/>
                    <a:pt x="25" y="16"/>
                    <a:pt x="25" y="16"/>
                  </a:cubicBezTo>
                  <a:cubicBezTo>
                    <a:pt x="26" y="16"/>
                    <a:pt x="27" y="15"/>
                    <a:pt x="27" y="14"/>
                  </a:cubicBezTo>
                  <a:cubicBezTo>
                    <a:pt x="30" y="0"/>
                    <a:pt x="30" y="0"/>
                    <a:pt x="3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80">
              <a:extLst>
                <a:ext uri="{FF2B5EF4-FFF2-40B4-BE49-F238E27FC236}">
                  <a16:creationId xmlns="" xmlns:a16="http://schemas.microsoft.com/office/drawing/2014/main" id="{AD2BA938-27EA-B340-B190-0DEB1034F2A7}"/>
                </a:ext>
              </a:extLst>
            </p:cNvPr>
            <p:cNvSpPr>
              <a:spLocks noEditPoints="1"/>
            </p:cNvSpPr>
            <p:nvPr/>
          </p:nvSpPr>
          <p:spPr bwMode="auto">
            <a:xfrm>
              <a:off x="8475663" y="2674938"/>
              <a:ext cx="284163" cy="165100"/>
            </a:xfrm>
            <a:custGeom>
              <a:avLst/>
              <a:gdLst>
                <a:gd name="T0" fmla="*/ 74 w 76"/>
                <a:gd name="T1" fmla="*/ 0 h 44"/>
                <a:gd name="T2" fmla="*/ 2 w 76"/>
                <a:gd name="T3" fmla="*/ 0 h 44"/>
                <a:gd name="T4" fmla="*/ 0 w 76"/>
                <a:gd name="T5" fmla="*/ 2 h 44"/>
                <a:gd name="T6" fmla="*/ 0 w 76"/>
                <a:gd name="T7" fmla="*/ 42 h 44"/>
                <a:gd name="T8" fmla="*/ 2 w 76"/>
                <a:gd name="T9" fmla="*/ 44 h 44"/>
                <a:gd name="T10" fmla="*/ 74 w 76"/>
                <a:gd name="T11" fmla="*/ 44 h 44"/>
                <a:gd name="T12" fmla="*/ 76 w 76"/>
                <a:gd name="T13" fmla="*/ 42 h 44"/>
                <a:gd name="T14" fmla="*/ 76 w 76"/>
                <a:gd name="T15" fmla="*/ 2 h 44"/>
                <a:gd name="T16" fmla="*/ 74 w 76"/>
                <a:gd name="T17" fmla="*/ 0 h 44"/>
                <a:gd name="T18" fmla="*/ 60 w 76"/>
                <a:gd name="T19" fmla="*/ 15 h 44"/>
                <a:gd name="T20" fmla="*/ 58 w 76"/>
                <a:gd name="T21" fmla="*/ 16 h 44"/>
                <a:gd name="T22" fmla="*/ 57 w 76"/>
                <a:gd name="T23" fmla="*/ 16 h 44"/>
                <a:gd name="T24" fmla="*/ 50 w 76"/>
                <a:gd name="T25" fmla="*/ 13 h 44"/>
                <a:gd name="T26" fmla="*/ 45 w 76"/>
                <a:gd name="T27" fmla="*/ 12 h 44"/>
                <a:gd name="T28" fmla="*/ 40 w 76"/>
                <a:gd name="T29" fmla="*/ 12 h 44"/>
                <a:gd name="T30" fmla="*/ 40 w 76"/>
                <a:gd name="T31" fmla="*/ 20 h 44"/>
                <a:gd name="T32" fmla="*/ 41 w 76"/>
                <a:gd name="T33" fmla="*/ 20 h 44"/>
                <a:gd name="T34" fmla="*/ 48 w 76"/>
                <a:gd name="T35" fmla="*/ 21 h 44"/>
                <a:gd name="T36" fmla="*/ 56 w 76"/>
                <a:gd name="T37" fmla="*/ 24 h 44"/>
                <a:gd name="T38" fmla="*/ 57 w 76"/>
                <a:gd name="T39" fmla="*/ 27 h 44"/>
                <a:gd name="T40" fmla="*/ 55 w 76"/>
                <a:gd name="T41" fmla="*/ 28 h 44"/>
                <a:gd name="T42" fmla="*/ 54 w 76"/>
                <a:gd name="T43" fmla="*/ 28 h 44"/>
                <a:gd name="T44" fmla="*/ 46 w 76"/>
                <a:gd name="T45" fmla="*/ 25 h 44"/>
                <a:gd name="T46" fmla="*/ 41 w 76"/>
                <a:gd name="T47" fmla="*/ 24 h 44"/>
                <a:gd name="T48" fmla="*/ 40 w 76"/>
                <a:gd name="T49" fmla="*/ 24 h 44"/>
                <a:gd name="T50" fmla="*/ 40 w 76"/>
                <a:gd name="T51" fmla="*/ 32 h 44"/>
                <a:gd name="T52" fmla="*/ 46 w 76"/>
                <a:gd name="T53" fmla="*/ 32 h 44"/>
                <a:gd name="T54" fmla="*/ 48 w 76"/>
                <a:gd name="T55" fmla="*/ 34 h 44"/>
                <a:gd name="T56" fmla="*/ 46 w 76"/>
                <a:gd name="T57" fmla="*/ 36 h 44"/>
                <a:gd name="T58" fmla="*/ 30 w 76"/>
                <a:gd name="T59" fmla="*/ 36 h 44"/>
                <a:gd name="T60" fmla="*/ 28 w 76"/>
                <a:gd name="T61" fmla="*/ 34 h 44"/>
                <a:gd name="T62" fmla="*/ 30 w 76"/>
                <a:gd name="T63" fmla="*/ 32 h 44"/>
                <a:gd name="T64" fmla="*/ 36 w 76"/>
                <a:gd name="T65" fmla="*/ 32 h 44"/>
                <a:gd name="T66" fmla="*/ 36 w 76"/>
                <a:gd name="T67" fmla="*/ 24 h 44"/>
                <a:gd name="T68" fmla="*/ 35 w 76"/>
                <a:gd name="T69" fmla="*/ 24 h 44"/>
                <a:gd name="T70" fmla="*/ 30 w 76"/>
                <a:gd name="T71" fmla="*/ 25 h 44"/>
                <a:gd name="T72" fmla="*/ 22 w 76"/>
                <a:gd name="T73" fmla="*/ 28 h 44"/>
                <a:gd name="T74" fmla="*/ 21 w 76"/>
                <a:gd name="T75" fmla="*/ 28 h 44"/>
                <a:gd name="T76" fmla="*/ 19 w 76"/>
                <a:gd name="T77" fmla="*/ 27 h 44"/>
                <a:gd name="T78" fmla="*/ 20 w 76"/>
                <a:gd name="T79" fmla="*/ 24 h 44"/>
                <a:gd name="T80" fmla="*/ 28 w 76"/>
                <a:gd name="T81" fmla="*/ 21 h 44"/>
                <a:gd name="T82" fmla="*/ 35 w 76"/>
                <a:gd name="T83" fmla="*/ 20 h 44"/>
                <a:gd name="T84" fmla="*/ 36 w 76"/>
                <a:gd name="T85" fmla="*/ 20 h 44"/>
                <a:gd name="T86" fmla="*/ 36 w 76"/>
                <a:gd name="T87" fmla="*/ 12 h 44"/>
                <a:gd name="T88" fmla="*/ 31 w 76"/>
                <a:gd name="T89" fmla="*/ 12 h 44"/>
                <a:gd name="T90" fmla="*/ 26 w 76"/>
                <a:gd name="T91" fmla="*/ 13 h 44"/>
                <a:gd name="T92" fmla="*/ 19 w 76"/>
                <a:gd name="T93" fmla="*/ 16 h 44"/>
                <a:gd name="T94" fmla="*/ 18 w 76"/>
                <a:gd name="T95" fmla="*/ 16 h 44"/>
                <a:gd name="T96" fmla="*/ 16 w 76"/>
                <a:gd name="T97" fmla="*/ 15 h 44"/>
                <a:gd name="T98" fmla="*/ 17 w 76"/>
                <a:gd name="T99" fmla="*/ 12 h 44"/>
                <a:gd name="T100" fmla="*/ 24 w 76"/>
                <a:gd name="T101" fmla="*/ 9 h 44"/>
                <a:gd name="T102" fmla="*/ 31 w 76"/>
                <a:gd name="T103" fmla="*/ 8 h 44"/>
                <a:gd name="T104" fmla="*/ 38 w 76"/>
                <a:gd name="T105" fmla="*/ 8 h 44"/>
                <a:gd name="T106" fmla="*/ 45 w 76"/>
                <a:gd name="T107" fmla="*/ 8 h 44"/>
                <a:gd name="T108" fmla="*/ 52 w 76"/>
                <a:gd name="T109" fmla="*/ 9 h 44"/>
                <a:gd name="T110" fmla="*/ 59 w 76"/>
                <a:gd name="T111" fmla="*/ 12 h 44"/>
                <a:gd name="T112" fmla="*/ 60 w 76"/>
                <a:gd name="T113"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 h="44">
                  <a:moveTo>
                    <a:pt x="74" y="0"/>
                  </a:moveTo>
                  <a:cubicBezTo>
                    <a:pt x="2" y="0"/>
                    <a:pt x="2" y="0"/>
                    <a:pt x="2" y="0"/>
                  </a:cubicBezTo>
                  <a:cubicBezTo>
                    <a:pt x="1" y="0"/>
                    <a:pt x="0" y="1"/>
                    <a:pt x="0" y="2"/>
                  </a:cubicBezTo>
                  <a:cubicBezTo>
                    <a:pt x="0" y="42"/>
                    <a:pt x="0" y="42"/>
                    <a:pt x="0" y="42"/>
                  </a:cubicBezTo>
                  <a:cubicBezTo>
                    <a:pt x="0" y="43"/>
                    <a:pt x="1" y="44"/>
                    <a:pt x="2" y="44"/>
                  </a:cubicBezTo>
                  <a:cubicBezTo>
                    <a:pt x="74" y="44"/>
                    <a:pt x="74" y="44"/>
                    <a:pt x="74" y="44"/>
                  </a:cubicBezTo>
                  <a:cubicBezTo>
                    <a:pt x="75" y="44"/>
                    <a:pt x="76" y="43"/>
                    <a:pt x="76" y="42"/>
                  </a:cubicBezTo>
                  <a:cubicBezTo>
                    <a:pt x="76" y="2"/>
                    <a:pt x="76" y="2"/>
                    <a:pt x="76" y="2"/>
                  </a:cubicBezTo>
                  <a:cubicBezTo>
                    <a:pt x="76" y="1"/>
                    <a:pt x="75" y="0"/>
                    <a:pt x="74" y="0"/>
                  </a:cubicBezTo>
                  <a:close/>
                  <a:moveTo>
                    <a:pt x="60" y="15"/>
                  </a:moveTo>
                  <a:cubicBezTo>
                    <a:pt x="60" y="16"/>
                    <a:pt x="59" y="16"/>
                    <a:pt x="58" y="16"/>
                  </a:cubicBezTo>
                  <a:cubicBezTo>
                    <a:pt x="58" y="16"/>
                    <a:pt x="57" y="16"/>
                    <a:pt x="57" y="16"/>
                  </a:cubicBezTo>
                  <a:cubicBezTo>
                    <a:pt x="50" y="13"/>
                    <a:pt x="50" y="13"/>
                    <a:pt x="50" y="13"/>
                  </a:cubicBezTo>
                  <a:cubicBezTo>
                    <a:pt x="48" y="12"/>
                    <a:pt x="47" y="12"/>
                    <a:pt x="45" y="12"/>
                  </a:cubicBezTo>
                  <a:cubicBezTo>
                    <a:pt x="40" y="12"/>
                    <a:pt x="40" y="12"/>
                    <a:pt x="40" y="12"/>
                  </a:cubicBezTo>
                  <a:cubicBezTo>
                    <a:pt x="40" y="20"/>
                    <a:pt x="40" y="20"/>
                    <a:pt x="40" y="20"/>
                  </a:cubicBezTo>
                  <a:cubicBezTo>
                    <a:pt x="41" y="20"/>
                    <a:pt x="41" y="20"/>
                    <a:pt x="41" y="20"/>
                  </a:cubicBezTo>
                  <a:cubicBezTo>
                    <a:pt x="43" y="20"/>
                    <a:pt x="45" y="20"/>
                    <a:pt x="48" y="21"/>
                  </a:cubicBezTo>
                  <a:cubicBezTo>
                    <a:pt x="56" y="24"/>
                    <a:pt x="56" y="24"/>
                    <a:pt x="56" y="24"/>
                  </a:cubicBezTo>
                  <a:cubicBezTo>
                    <a:pt x="57" y="25"/>
                    <a:pt x="57" y="26"/>
                    <a:pt x="57" y="27"/>
                  </a:cubicBezTo>
                  <a:cubicBezTo>
                    <a:pt x="56" y="28"/>
                    <a:pt x="56" y="28"/>
                    <a:pt x="55" y="28"/>
                  </a:cubicBezTo>
                  <a:cubicBezTo>
                    <a:pt x="55" y="28"/>
                    <a:pt x="54" y="28"/>
                    <a:pt x="54" y="28"/>
                  </a:cubicBezTo>
                  <a:cubicBezTo>
                    <a:pt x="46" y="25"/>
                    <a:pt x="46" y="25"/>
                    <a:pt x="46" y="25"/>
                  </a:cubicBezTo>
                  <a:cubicBezTo>
                    <a:pt x="44" y="24"/>
                    <a:pt x="43" y="24"/>
                    <a:pt x="41" y="24"/>
                  </a:cubicBezTo>
                  <a:cubicBezTo>
                    <a:pt x="40" y="24"/>
                    <a:pt x="40" y="24"/>
                    <a:pt x="40" y="24"/>
                  </a:cubicBezTo>
                  <a:cubicBezTo>
                    <a:pt x="40" y="32"/>
                    <a:pt x="40" y="32"/>
                    <a:pt x="40" y="32"/>
                  </a:cubicBezTo>
                  <a:cubicBezTo>
                    <a:pt x="46" y="32"/>
                    <a:pt x="46" y="32"/>
                    <a:pt x="46" y="32"/>
                  </a:cubicBezTo>
                  <a:cubicBezTo>
                    <a:pt x="47" y="32"/>
                    <a:pt x="48" y="33"/>
                    <a:pt x="48" y="34"/>
                  </a:cubicBezTo>
                  <a:cubicBezTo>
                    <a:pt x="48" y="35"/>
                    <a:pt x="47" y="36"/>
                    <a:pt x="46" y="36"/>
                  </a:cubicBezTo>
                  <a:cubicBezTo>
                    <a:pt x="30" y="36"/>
                    <a:pt x="30" y="36"/>
                    <a:pt x="30" y="36"/>
                  </a:cubicBezTo>
                  <a:cubicBezTo>
                    <a:pt x="29" y="36"/>
                    <a:pt x="28" y="35"/>
                    <a:pt x="28" y="34"/>
                  </a:cubicBezTo>
                  <a:cubicBezTo>
                    <a:pt x="28" y="33"/>
                    <a:pt x="29" y="32"/>
                    <a:pt x="30" y="32"/>
                  </a:cubicBezTo>
                  <a:cubicBezTo>
                    <a:pt x="36" y="32"/>
                    <a:pt x="36" y="32"/>
                    <a:pt x="36" y="32"/>
                  </a:cubicBezTo>
                  <a:cubicBezTo>
                    <a:pt x="36" y="24"/>
                    <a:pt x="36" y="24"/>
                    <a:pt x="36" y="24"/>
                  </a:cubicBezTo>
                  <a:cubicBezTo>
                    <a:pt x="35" y="24"/>
                    <a:pt x="35" y="24"/>
                    <a:pt x="35" y="24"/>
                  </a:cubicBezTo>
                  <a:cubicBezTo>
                    <a:pt x="33" y="24"/>
                    <a:pt x="32" y="24"/>
                    <a:pt x="30" y="25"/>
                  </a:cubicBezTo>
                  <a:cubicBezTo>
                    <a:pt x="22" y="28"/>
                    <a:pt x="22" y="28"/>
                    <a:pt x="22" y="28"/>
                  </a:cubicBezTo>
                  <a:cubicBezTo>
                    <a:pt x="22" y="28"/>
                    <a:pt x="21" y="28"/>
                    <a:pt x="21" y="28"/>
                  </a:cubicBezTo>
                  <a:cubicBezTo>
                    <a:pt x="20" y="28"/>
                    <a:pt x="20" y="28"/>
                    <a:pt x="19" y="27"/>
                  </a:cubicBezTo>
                  <a:cubicBezTo>
                    <a:pt x="19" y="26"/>
                    <a:pt x="19" y="25"/>
                    <a:pt x="20" y="24"/>
                  </a:cubicBezTo>
                  <a:cubicBezTo>
                    <a:pt x="28" y="21"/>
                    <a:pt x="28" y="21"/>
                    <a:pt x="28" y="21"/>
                  </a:cubicBezTo>
                  <a:cubicBezTo>
                    <a:pt x="31" y="20"/>
                    <a:pt x="33" y="20"/>
                    <a:pt x="35" y="20"/>
                  </a:cubicBezTo>
                  <a:cubicBezTo>
                    <a:pt x="36" y="20"/>
                    <a:pt x="36" y="20"/>
                    <a:pt x="36" y="20"/>
                  </a:cubicBezTo>
                  <a:cubicBezTo>
                    <a:pt x="36" y="12"/>
                    <a:pt x="36" y="12"/>
                    <a:pt x="36" y="12"/>
                  </a:cubicBezTo>
                  <a:cubicBezTo>
                    <a:pt x="31" y="12"/>
                    <a:pt x="31" y="12"/>
                    <a:pt x="31" y="12"/>
                  </a:cubicBezTo>
                  <a:cubicBezTo>
                    <a:pt x="29" y="12"/>
                    <a:pt x="28" y="12"/>
                    <a:pt x="26" y="13"/>
                  </a:cubicBezTo>
                  <a:cubicBezTo>
                    <a:pt x="19" y="16"/>
                    <a:pt x="19" y="16"/>
                    <a:pt x="19" y="16"/>
                  </a:cubicBezTo>
                  <a:cubicBezTo>
                    <a:pt x="18" y="16"/>
                    <a:pt x="18" y="16"/>
                    <a:pt x="18" y="16"/>
                  </a:cubicBezTo>
                  <a:cubicBezTo>
                    <a:pt x="17" y="16"/>
                    <a:pt x="16" y="16"/>
                    <a:pt x="16" y="15"/>
                  </a:cubicBezTo>
                  <a:cubicBezTo>
                    <a:pt x="16" y="14"/>
                    <a:pt x="16" y="13"/>
                    <a:pt x="17" y="12"/>
                  </a:cubicBezTo>
                  <a:cubicBezTo>
                    <a:pt x="24" y="9"/>
                    <a:pt x="24" y="9"/>
                    <a:pt x="24" y="9"/>
                  </a:cubicBezTo>
                  <a:cubicBezTo>
                    <a:pt x="27" y="8"/>
                    <a:pt x="29" y="8"/>
                    <a:pt x="31" y="8"/>
                  </a:cubicBezTo>
                  <a:cubicBezTo>
                    <a:pt x="38" y="8"/>
                    <a:pt x="38" y="8"/>
                    <a:pt x="38" y="8"/>
                  </a:cubicBezTo>
                  <a:cubicBezTo>
                    <a:pt x="45" y="8"/>
                    <a:pt x="45" y="8"/>
                    <a:pt x="45" y="8"/>
                  </a:cubicBezTo>
                  <a:cubicBezTo>
                    <a:pt x="47" y="8"/>
                    <a:pt x="49" y="8"/>
                    <a:pt x="52" y="9"/>
                  </a:cubicBezTo>
                  <a:cubicBezTo>
                    <a:pt x="59" y="12"/>
                    <a:pt x="59" y="12"/>
                    <a:pt x="59" y="12"/>
                  </a:cubicBezTo>
                  <a:cubicBezTo>
                    <a:pt x="60" y="13"/>
                    <a:pt x="60" y="14"/>
                    <a:pt x="6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 xmlns:a16="http://schemas.microsoft.com/office/drawing/2014/main" id="{054E29CC-FD21-0744-8F68-37EA7DE08EC5}"/>
              </a:ext>
            </a:extLst>
          </p:cNvPr>
          <p:cNvGrpSpPr/>
          <p:nvPr/>
        </p:nvGrpSpPr>
        <p:grpSpPr>
          <a:xfrm>
            <a:off x="6636854" y="1477218"/>
            <a:ext cx="503412" cy="641218"/>
            <a:chOff x="4870450" y="2554288"/>
            <a:chExt cx="284163" cy="361950"/>
          </a:xfrm>
          <a:solidFill>
            <a:srgbClr val="30653F"/>
          </a:solidFill>
        </p:grpSpPr>
        <p:sp>
          <p:nvSpPr>
            <p:cNvPr id="74" name="Freeform 73">
              <a:extLst>
                <a:ext uri="{FF2B5EF4-FFF2-40B4-BE49-F238E27FC236}">
                  <a16:creationId xmlns="" xmlns:a16="http://schemas.microsoft.com/office/drawing/2014/main" id="{C5E95428-BFB3-C344-B99A-BF5E5246633B}"/>
                </a:ext>
              </a:extLst>
            </p:cNvPr>
            <p:cNvSpPr>
              <a:spLocks/>
            </p:cNvSpPr>
            <p:nvPr/>
          </p:nvSpPr>
          <p:spPr bwMode="auto">
            <a:xfrm>
              <a:off x="4945063" y="2795588"/>
              <a:ext cx="134938" cy="14288"/>
            </a:xfrm>
            <a:custGeom>
              <a:avLst/>
              <a:gdLst>
                <a:gd name="T0" fmla="*/ 34 w 36"/>
                <a:gd name="T1" fmla="*/ 0 h 4"/>
                <a:gd name="T2" fmla="*/ 2 w 36"/>
                <a:gd name="T3" fmla="*/ 0 h 4"/>
                <a:gd name="T4" fmla="*/ 0 w 36"/>
                <a:gd name="T5" fmla="*/ 2 h 4"/>
                <a:gd name="T6" fmla="*/ 2 w 36"/>
                <a:gd name="T7" fmla="*/ 4 h 4"/>
                <a:gd name="T8" fmla="*/ 34 w 36"/>
                <a:gd name="T9" fmla="*/ 4 h 4"/>
                <a:gd name="T10" fmla="*/ 36 w 36"/>
                <a:gd name="T11" fmla="*/ 2 h 4"/>
                <a:gd name="T12" fmla="*/ 34 w 3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0"/>
                  </a:moveTo>
                  <a:cubicBezTo>
                    <a:pt x="2" y="0"/>
                    <a:pt x="2" y="0"/>
                    <a:pt x="2" y="0"/>
                  </a:cubicBezTo>
                  <a:cubicBezTo>
                    <a:pt x="1" y="0"/>
                    <a:pt x="0" y="1"/>
                    <a:pt x="0" y="2"/>
                  </a:cubicBezTo>
                  <a:cubicBezTo>
                    <a:pt x="0" y="3"/>
                    <a:pt x="1" y="4"/>
                    <a:pt x="2" y="4"/>
                  </a:cubicBezTo>
                  <a:cubicBezTo>
                    <a:pt x="34" y="4"/>
                    <a:pt x="34" y="4"/>
                    <a:pt x="34" y="4"/>
                  </a:cubicBezTo>
                  <a:cubicBezTo>
                    <a:pt x="35" y="4"/>
                    <a:pt x="36" y="3"/>
                    <a:pt x="36" y="2"/>
                  </a:cubicBezTo>
                  <a:cubicBezTo>
                    <a:pt x="36" y="1"/>
                    <a:pt x="35"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74">
              <a:extLst>
                <a:ext uri="{FF2B5EF4-FFF2-40B4-BE49-F238E27FC236}">
                  <a16:creationId xmlns="" xmlns:a16="http://schemas.microsoft.com/office/drawing/2014/main" id="{841DBE49-D161-A642-8603-514F271F15F3}"/>
                </a:ext>
              </a:extLst>
            </p:cNvPr>
            <p:cNvSpPr>
              <a:spLocks/>
            </p:cNvSpPr>
            <p:nvPr/>
          </p:nvSpPr>
          <p:spPr bwMode="auto">
            <a:xfrm>
              <a:off x="4945063" y="2825750"/>
              <a:ext cx="134938" cy="14288"/>
            </a:xfrm>
            <a:custGeom>
              <a:avLst/>
              <a:gdLst>
                <a:gd name="T0" fmla="*/ 34 w 36"/>
                <a:gd name="T1" fmla="*/ 0 h 4"/>
                <a:gd name="T2" fmla="*/ 2 w 36"/>
                <a:gd name="T3" fmla="*/ 0 h 4"/>
                <a:gd name="T4" fmla="*/ 0 w 36"/>
                <a:gd name="T5" fmla="*/ 2 h 4"/>
                <a:gd name="T6" fmla="*/ 2 w 36"/>
                <a:gd name="T7" fmla="*/ 4 h 4"/>
                <a:gd name="T8" fmla="*/ 34 w 36"/>
                <a:gd name="T9" fmla="*/ 4 h 4"/>
                <a:gd name="T10" fmla="*/ 36 w 36"/>
                <a:gd name="T11" fmla="*/ 2 h 4"/>
                <a:gd name="T12" fmla="*/ 34 w 3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0"/>
                  </a:moveTo>
                  <a:cubicBezTo>
                    <a:pt x="2" y="0"/>
                    <a:pt x="2" y="0"/>
                    <a:pt x="2" y="0"/>
                  </a:cubicBezTo>
                  <a:cubicBezTo>
                    <a:pt x="1" y="0"/>
                    <a:pt x="0" y="1"/>
                    <a:pt x="0" y="2"/>
                  </a:cubicBezTo>
                  <a:cubicBezTo>
                    <a:pt x="0" y="3"/>
                    <a:pt x="1" y="4"/>
                    <a:pt x="2" y="4"/>
                  </a:cubicBezTo>
                  <a:cubicBezTo>
                    <a:pt x="34" y="4"/>
                    <a:pt x="34" y="4"/>
                    <a:pt x="34" y="4"/>
                  </a:cubicBezTo>
                  <a:cubicBezTo>
                    <a:pt x="35" y="4"/>
                    <a:pt x="36" y="3"/>
                    <a:pt x="36" y="2"/>
                  </a:cubicBezTo>
                  <a:cubicBezTo>
                    <a:pt x="36" y="1"/>
                    <a:pt x="35"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75">
              <a:extLst>
                <a:ext uri="{FF2B5EF4-FFF2-40B4-BE49-F238E27FC236}">
                  <a16:creationId xmlns="" xmlns:a16="http://schemas.microsoft.com/office/drawing/2014/main" id="{8AA58594-58EA-CC4A-937E-3C06F61FA78A}"/>
                </a:ext>
              </a:extLst>
            </p:cNvPr>
            <p:cNvSpPr>
              <a:spLocks/>
            </p:cNvSpPr>
            <p:nvPr/>
          </p:nvSpPr>
          <p:spPr bwMode="auto">
            <a:xfrm>
              <a:off x="4959350" y="2659063"/>
              <a:ext cx="106363" cy="106363"/>
            </a:xfrm>
            <a:custGeom>
              <a:avLst/>
              <a:gdLst>
                <a:gd name="T0" fmla="*/ 18 w 28"/>
                <a:gd name="T1" fmla="*/ 0 h 28"/>
                <a:gd name="T2" fmla="*/ 10 w 28"/>
                <a:gd name="T3" fmla="*/ 0 h 28"/>
                <a:gd name="T4" fmla="*/ 8 w 28"/>
                <a:gd name="T5" fmla="*/ 2 h 28"/>
                <a:gd name="T6" fmla="*/ 8 w 28"/>
                <a:gd name="T7" fmla="*/ 8 h 28"/>
                <a:gd name="T8" fmla="*/ 2 w 28"/>
                <a:gd name="T9" fmla="*/ 8 h 28"/>
                <a:gd name="T10" fmla="*/ 0 w 28"/>
                <a:gd name="T11" fmla="*/ 10 h 28"/>
                <a:gd name="T12" fmla="*/ 0 w 28"/>
                <a:gd name="T13" fmla="*/ 18 h 28"/>
                <a:gd name="T14" fmla="*/ 2 w 28"/>
                <a:gd name="T15" fmla="*/ 20 h 28"/>
                <a:gd name="T16" fmla="*/ 8 w 28"/>
                <a:gd name="T17" fmla="*/ 20 h 28"/>
                <a:gd name="T18" fmla="*/ 8 w 28"/>
                <a:gd name="T19" fmla="*/ 26 h 28"/>
                <a:gd name="T20" fmla="*/ 10 w 28"/>
                <a:gd name="T21" fmla="*/ 28 h 28"/>
                <a:gd name="T22" fmla="*/ 18 w 28"/>
                <a:gd name="T23" fmla="*/ 28 h 28"/>
                <a:gd name="T24" fmla="*/ 20 w 28"/>
                <a:gd name="T25" fmla="*/ 26 h 28"/>
                <a:gd name="T26" fmla="*/ 20 w 28"/>
                <a:gd name="T27" fmla="*/ 20 h 28"/>
                <a:gd name="T28" fmla="*/ 26 w 28"/>
                <a:gd name="T29" fmla="*/ 20 h 28"/>
                <a:gd name="T30" fmla="*/ 28 w 28"/>
                <a:gd name="T31" fmla="*/ 18 h 28"/>
                <a:gd name="T32" fmla="*/ 28 w 28"/>
                <a:gd name="T33" fmla="*/ 10 h 28"/>
                <a:gd name="T34" fmla="*/ 26 w 28"/>
                <a:gd name="T35" fmla="*/ 8 h 28"/>
                <a:gd name="T36" fmla="*/ 20 w 28"/>
                <a:gd name="T37" fmla="*/ 8 h 28"/>
                <a:gd name="T38" fmla="*/ 20 w 28"/>
                <a:gd name="T39" fmla="*/ 2 h 28"/>
                <a:gd name="T40" fmla="*/ 18 w 28"/>
                <a:gd name="T4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8">
                  <a:moveTo>
                    <a:pt x="18" y="0"/>
                  </a:moveTo>
                  <a:cubicBezTo>
                    <a:pt x="10" y="0"/>
                    <a:pt x="10" y="0"/>
                    <a:pt x="10" y="0"/>
                  </a:cubicBezTo>
                  <a:cubicBezTo>
                    <a:pt x="9" y="0"/>
                    <a:pt x="8" y="1"/>
                    <a:pt x="8" y="2"/>
                  </a:cubicBezTo>
                  <a:cubicBezTo>
                    <a:pt x="8" y="8"/>
                    <a:pt x="8" y="8"/>
                    <a:pt x="8" y="8"/>
                  </a:cubicBezTo>
                  <a:cubicBezTo>
                    <a:pt x="2" y="8"/>
                    <a:pt x="2" y="8"/>
                    <a:pt x="2" y="8"/>
                  </a:cubicBezTo>
                  <a:cubicBezTo>
                    <a:pt x="1" y="8"/>
                    <a:pt x="0" y="9"/>
                    <a:pt x="0" y="10"/>
                  </a:cubicBezTo>
                  <a:cubicBezTo>
                    <a:pt x="0" y="18"/>
                    <a:pt x="0" y="18"/>
                    <a:pt x="0" y="18"/>
                  </a:cubicBezTo>
                  <a:cubicBezTo>
                    <a:pt x="0" y="19"/>
                    <a:pt x="1" y="20"/>
                    <a:pt x="2" y="20"/>
                  </a:cubicBezTo>
                  <a:cubicBezTo>
                    <a:pt x="8" y="20"/>
                    <a:pt x="8" y="20"/>
                    <a:pt x="8" y="20"/>
                  </a:cubicBezTo>
                  <a:cubicBezTo>
                    <a:pt x="8" y="26"/>
                    <a:pt x="8" y="26"/>
                    <a:pt x="8" y="26"/>
                  </a:cubicBezTo>
                  <a:cubicBezTo>
                    <a:pt x="8" y="27"/>
                    <a:pt x="9" y="28"/>
                    <a:pt x="10" y="28"/>
                  </a:cubicBezTo>
                  <a:cubicBezTo>
                    <a:pt x="18" y="28"/>
                    <a:pt x="18" y="28"/>
                    <a:pt x="18" y="28"/>
                  </a:cubicBezTo>
                  <a:cubicBezTo>
                    <a:pt x="19" y="28"/>
                    <a:pt x="20" y="27"/>
                    <a:pt x="20" y="26"/>
                  </a:cubicBezTo>
                  <a:cubicBezTo>
                    <a:pt x="20" y="20"/>
                    <a:pt x="20" y="20"/>
                    <a:pt x="20" y="20"/>
                  </a:cubicBezTo>
                  <a:cubicBezTo>
                    <a:pt x="26" y="20"/>
                    <a:pt x="26" y="20"/>
                    <a:pt x="26" y="20"/>
                  </a:cubicBezTo>
                  <a:cubicBezTo>
                    <a:pt x="27" y="20"/>
                    <a:pt x="28" y="19"/>
                    <a:pt x="28" y="18"/>
                  </a:cubicBezTo>
                  <a:cubicBezTo>
                    <a:pt x="28" y="10"/>
                    <a:pt x="28" y="10"/>
                    <a:pt x="28" y="10"/>
                  </a:cubicBezTo>
                  <a:cubicBezTo>
                    <a:pt x="28" y="9"/>
                    <a:pt x="27" y="8"/>
                    <a:pt x="26" y="8"/>
                  </a:cubicBezTo>
                  <a:cubicBezTo>
                    <a:pt x="20" y="8"/>
                    <a:pt x="20" y="8"/>
                    <a:pt x="20" y="8"/>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76">
              <a:extLst>
                <a:ext uri="{FF2B5EF4-FFF2-40B4-BE49-F238E27FC236}">
                  <a16:creationId xmlns="" xmlns:a16="http://schemas.microsoft.com/office/drawing/2014/main" id="{5110A7D0-2102-6244-9DAB-C8FD1FDF197D}"/>
                </a:ext>
              </a:extLst>
            </p:cNvPr>
            <p:cNvSpPr>
              <a:spLocks/>
            </p:cNvSpPr>
            <p:nvPr/>
          </p:nvSpPr>
          <p:spPr bwMode="auto">
            <a:xfrm>
              <a:off x="4870450" y="2584450"/>
              <a:ext cx="284163" cy="331788"/>
            </a:xfrm>
            <a:custGeom>
              <a:avLst/>
              <a:gdLst>
                <a:gd name="T0" fmla="*/ 74 w 76"/>
                <a:gd name="T1" fmla="*/ 0 h 88"/>
                <a:gd name="T2" fmla="*/ 64 w 76"/>
                <a:gd name="T3" fmla="*/ 0 h 88"/>
                <a:gd name="T4" fmla="*/ 64 w 76"/>
                <a:gd name="T5" fmla="*/ 2 h 88"/>
                <a:gd name="T6" fmla="*/ 64 w 76"/>
                <a:gd name="T7" fmla="*/ 8 h 88"/>
                <a:gd name="T8" fmla="*/ 66 w 76"/>
                <a:gd name="T9" fmla="*/ 8 h 88"/>
                <a:gd name="T10" fmla="*/ 68 w 76"/>
                <a:gd name="T11" fmla="*/ 10 h 88"/>
                <a:gd name="T12" fmla="*/ 68 w 76"/>
                <a:gd name="T13" fmla="*/ 78 h 88"/>
                <a:gd name="T14" fmla="*/ 66 w 76"/>
                <a:gd name="T15" fmla="*/ 80 h 88"/>
                <a:gd name="T16" fmla="*/ 10 w 76"/>
                <a:gd name="T17" fmla="*/ 80 h 88"/>
                <a:gd name="T18" fmla="*/ 8 w 76"/>
                <a:gd name="T19" fmla="*/ 78 h 88"/>
                <a:gd name="T20" fmla="*/ 8 w 76"/>
                <a:gd name="T21" fmla="*/ 10 h 88"/>
                <a:gd name="T22" fmla="*/ 10 w 76"/>
                <a:gd name="T23" fmla="*/ 8 h 88"/>
                <a:gd name="T24" fmla="*/ 12 w 76"/>
                <a:gd name="T25" fmla="*/ 8 h 88"/>
                <a:gd name="T26" fmla="*/ 12 w 76"/>
                <a:gd name="T27" fmla="*/ 0 h 88"/>
                <a:gd name="T28" fmla="*/ 2 w 76"/>
                <a:gd name="T29" fmla="*/ 0 h 88"/>
                <a:gd name="T30" fmla="*/ 0 w 76"/>
                <a:gd name="T31" fmla="*/ 2 h 88"/>
                <a:gd name="T32" fmla="*/ 0 w 76"/>
                <a:gd name="T33" fmla="*/ 86 h 88"/>
                <a:gd name="T34" fmla="*/ 2 w 76"/>
                <a:gd name="T35" fmla="*/ 88 h 88"/>
                <a:gd name="T36" fmla="*/ 74 w 76"/>
                <a:gd name="T37" fmla="*/ 88 h 88"/>
                <a:gd name="T38" fmla="*/ 76 w 76"/>
                <a:gd name="T39" fmla="*/ 86 h 88"/>
                <a:gd name="T40" fmla="*/ 76 w 76"/>
                <a:gd name="T41" fmla="*/ 2 h 88"/>
                <a:gd name="T42" fmla="*/ 74 w 76"/>
                <a:gd name="T4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 h="88">
                  <a:moveTo>
                    <a:pt x="74" y="0"/>
                  </a:moveTo>
                  <a:cubicBezTo>
                    <a:pt x="64" y="0"/>
                    <a:pt x="64" y="0"/>
                    <a:pt x="64" y="0"/>
                  </a:cubicBezTo>
                  <a:cubicBezTo>
                    <a:pt x="64" y="1"/>
                    <a:pt x="64" y="1"/>
                    <a:pt x="64" y="2"/>
                  </a:cubicBezTo>
                  <a:cubicBezTo>
                    <a:pt x="64" y="8"/>
                    <a:pt x="64" y="8"/>
                    <a:pt x="64" y="8"/>
                  </a:cubicBezTo>
                  <a:cubicBezTo>
                    <a:pt x="66" y="8"/>
                    <a:pt x="66" y="8"/>
                    <a:pt x="66" y="8"/>
                  </a:cubicBezTo>
                  <a:cubicBezTo>
                    <a:pt x="67" y="8"/>
                    <a:pt x="68" y="9"/>
                    <a:pt x="68" y="10"/>
                  </a:cubicBezTo>
                  <a:cubicBezTo>
                    <a:pt x="68" y="78"/>
                    <a:pt x="68" y="78"/>
                    <a:pt x="68" y="78"/>
                  </a:cubicBezTo>
                  <a:cubicBezTo>
                    <a:pt x="68" y="79"/>
                    <a:pt x="67" y="80"/>
                    <a:pt x="66" y="80"/>
                  </a:cubicBezTo>
                  <a:cubicBezTo>
                    <a:pt x="10" y="80"/>
                    <a:pt x="10" y="80"/>
                    <a:pt x="10" y="80"/>
                  </a:cubicBezTo>
                  <a:cubicBezTo>
                    <a:pt x="9" y="80"/>
                    <a:pt x="8" y="79"/>
                    <a:pt x="8" y="78"/>
                  </a:cubicBezTo>
                  <a:cubicBezTo>
                    <a:pt x="8" y="10"/>
                    <a:pt x="8" y="10"/>
                    <a:pt x="8" y="10"/>
                  </a:cubicBezTo>
                  <a:cubicBezTo>
                    <a:pt x="8" y="9"/>
                    <a:pt x="9" y="8"/>
                    <a:pt x="10" y="8"/>
                  </a:cubicBezTo>
                  <a:cubicBezTo>
                    <a:pt x="12" y="8"/>
                    <a:pt x="12" y="8"/>
                    <a:pt x="12" y="8"/>
                  </a:cubicBezTo>
                  <a:cubicBezTo>
                    <a:pt x="12" y="0"/>
                    <a:pt x="12" y="0"/>
                    <a:pt x="12" y="0"/>
                  </a:cubicBezTo>
                  <a:cubicBezTo>
                    <a:pt x="2" y="0"/>
                    <a:pt x="2" y="0"/>
                    <a:pt x="2" y="0"/>
                  </a:cubicBezTo>
                  <a:cubicBezTo>
                    <a:pt x="1" y="0"/>
                    <a:pt x="0" y="1"/>
                    <a:pt x="0" y="2"/>
                  </a:cubicBezTo>
                  <a:cubicBezTo>
                    <a:pt x="0" y="86"/>
                    <a:pt x="0" y="86"/>
                    <a:pt x="0" y="86"/>
                  </a:cubicBezTo>
                  <a:cubicBezTo>
                    <a:pt x="0" y="87"/>
                    <a:pt x="1" y="88"/>
                    <a:pt x="2" y="88"/>
                  </a:cubicBezTo>
                  <a:cubicBezTo>
                    <a:pt x="74" y="88"/>
                    <a:pt x="74" y="88"/>
                    <a:pt x="74" y="88"/>
                  </a:cubicBezTo>
                  <a:cubicBezTo>
                    <a:pt x="75" y="88"/>
                    <a:pt x="76" y="87"/>
                    <a:pt x="76" y="86"/>
                  </a:cubicBezTo>
                  <a:cubicBezTo>
                    <a:pt x="76" y="2"/>
                    <a:pt x="76" y="2"/>
                    <a:pt x="76" y="2"/>
                  </a:cubicBezTo>
                  <a:cubicBezTo>
                    <a:pt x="76" y="1"/>
                    <a:pt x="75" y="0"/>
                    <a:pt x="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77">
              <a:extLst>
                <a:ext uri="{FF2B5EF4-FFF2-40B4-BE49-F238E27FC236}">
                  <a16:creationId xmlns="" xmlns:a16="http://schemas.microsoft.com/office/drawing/2014/main" id="{7D113355-7D24-6348-A4C2-DE320C98DEFC}"/>
                </a:ext>
              </a:extLst>
            </p:cNvPr>
            <p:cNvSpPr>
              <a:spLocks/>
            </p:cNvSpPr>
            <p:nvPr/>
          </p:nvSpPr>
          <p:spPr bwMode="auto">
            <a:xfrm>
              <a:off x="4929188" y="2554288"/>
              <a:ext cx="166688" cy="90488"/>
            </a:xfrm>
            <a:custGeom>
              <a:avLst/>
              <a:gdLst>
                <a:gd name="T0" fmla="*/ 2 w 44"/>
                <a:gd name="T1" fmla="*/ 24 h 24"/>
                <a:gd name="T2" fmla="*/ 42 w 44"/>
                <a:gd name="T3" fmla="*/ 24 h 24"/>
                <a:gd name="T4" fmla="*/ 44 w 44"/>
                <a:gd name="T5" fmla="*/ 22 h 24"/>
                <a:gd name="T6" fmla="*/ 44 w 44"/>
                <a:gd name="T7" fmla="*/ 10 h 24"/>
                <a:gd name="T8" fmla="*/ 42 w 44"/>
                <a:gd name="T9" fmla="*/ 8 h 24"/>
                <a:gd name="T10" fmla="*/ 32 w 44"/>
                <a:gd name="T11" fmla="*/ 8 h 24"/>
                <a:gd name="T12" fmla="*/ 22 w 44"/>
                <a:gd name="T13" fmla="*/ 0 h 24"/>
                <a:gd name="T14" fmla="*/ 12 w 44"/>
                <a:gd name="T15" fmla="*/ 8 h 24"/>
                <a:gd name="T16" fmla="*/ 2 w 44"/>
                <a:gd name="T17" fmla="*/ 8 h 24"/>
                <a:gd name="T18" fmla="*/ 0 w 44"/>
                <a:gd name="T19" fmla="*/ 10 h 24"/>
                <a:gd name="T20" fmla="*/ 0 w 44"/>
                <a:gd name="T21" fmla="*/ 22 h 24"/>
                <a:gd name="T22" fmla="*/ 2 w 44"/>
                <a:gd name="T2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4">
                  <a:moveTo>
                    <a:pt x="2" y="24"/>
                  </a:moveTo>
                  <a:cubicBezTo>
                    <a:pt x="42" y="24"/>
                    <a:pt x="42" y="24"/>
                    <a:pt x="42" y="24"/>
                  </a:cubicBezTo>
                  <a:cubicBezTo>
                    <a:pt x="43" y="24"/>
                    <a:pt x="44" y="23"/>
                    <a:pt x="44" y="22"/>
                  </a:cubicBezTo>
                  <a:cubicBezTo>
                    <a:pt x="44" y="10"/>
                    <a:pt x="44" y="10"/>
                    <a:pt x="44" y="10"/>
                  </a:cubicBezTo>
                  <a:cubicBezTo>
                    <a:pt x="44" y="9"/>
                    <a:pt x="43" y="8"/>
                    <a:pt x="42" y="8"/>
                  </a:cubicBezTo>
                  <a:cubicBezTo>
                    <a:pt x="32" y="8"/>
                    <a:pt x="32" y="8"/>
                    <a:pt x="32" y="8"/>
                  </a:cubicBezTo>
                  <a:cubicBezTo>
                    <a:pt x="31" y="3"/>
                    <a:pt x="27" y="0"/>
                    <a:pt x="22" y="0"/>
                  </a:cubicBezTo>
                  <a:cubicBezTo>
                    <a:pt x="17" y="0"/>
                    <a:pt x="13" y="3"/>
                    <a:pt x="12" y="8"/>
                  </a:cubicBezTo>
                  <a:cubicBezTo>
                    <a:pt x="2" y="8"/>
                    <a:pt x="2" y="8"/>
                    <a:pt x="2" y="8"/>
                  </a:cubicBezTo>
                  <a:cubicBezTo>
                    <a:pt x="1" y="8"/>
                    <a:pt x="0" y="9"/>
                    <a:pt x="0" y="10"/>
                  </a:cubicBezTo>
                  <a:cubicBezTo>
                    <a:pt x="0" y="22"/>
                    <a:pt x="0" y="22"/>
                    <a:pt x="0" y="22"/>
                  </a:cubicBezTo>
                  <a:cubicBezTo>
                    <a:pt x="0" y="23"/>
                    <a:pt x="1" y="24"/>
                    <a:pt x="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12" name="Group 111">
            <a:extLst>
              <a:ext uri="{FF2B5EF4-FFF2-40B4-BE49-F238E27FC236}">
                <a16:creationId xmlns="" xmlns:a16="http://schemas.microsoft.com/office/drawing/2014/main" id="{B05FE82A-BD58-4C47-9F4E-891E22ECB062}"/>
              </a:ext>
            </a:extLst>
          </p:cNvPr>
          <p:cNvGrpSpPr/>
          <p:nvPr/>
        </p:nvGrpSpPr>
        <p:grpSpPr>
          <a:xfrm>
            <a:off x="928824" y="2818035"/>
            <a:ext cx="6531921" cy="3274636"/>
            <a:chOff x="797048" y="3827975"/>
            <a:chExt cx="6531921" cy="2450842"/>
          </a:xfrm>
        </p:grpSpPr>
        <p:grpSp>
          <p:nvGrpSpPr>
            <p:cNvPr id="109" name="Group 108">
              <a:extLst>
                <a:ext uri="{FF2B5EF4-FFF2-40B4-BE49-F238E27FC236}">
                  <a16:creationId xmlns="" xmlns:a16="http://schemas.microsoft.com/office/drawing/2014/main" id="{C37C5EDB-D309-5645-8940-0A614C2B9DC7}"/>
                </a:ext>
              </a:extLst>
            </p:cNvPr>
            <p:cNvGrpSpPr/>
            <p:nvPr/>
          </p:nvGrpSpPr>
          <p:grpSpPr>
            <a:xfrm>
              <a:off x="797048" y="3827975"/>
              <a:ext cx="4849913" cy="707951"/>
              <a:chOff x="797048" y="3827975"/>
              <a:chExt cx="4849913" cy="707951"/>
            </a:xfrm>
          </p:grpSpPr>
          <p:sp>
            <p:nvSpPr>
              <p:cNvPr id="57" name="TextBox 56">
                <a:extLst>
                  <a:ext uri="{FF2B5EF4-FFF2-40B4-BE49-F238E27FC236}">
                    <a16:creationId xmlns="" xmlns:a16="http://schemas.microsoft.com/office/drawing/2014/main" id="{5F1CA19B-978C-9444-BC2C-8D8BB8B73F1C}"/>
                  </a:ext>
                </a:extLst>
              </p:cNvPr>
              <p:cNvSpPr txBox="1"/>
              <p:nvPr/>
            </p:nvSpPr>
            <p:spPr>
              <a:xfrm>
                <a:off x="1636599" y="3951151"/>
                <a:ext cx="4010362" cy="584775"/>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Number of Patients Across Various Summary</a:t>
                </a:r>
              </a:p>
            </p:txBody>
          </p:sp>
          <p:sp>
            <p:nvSpPr>
              <p:cNvPr id="49" name="Oval 48">
                <a:extLst>
                  <a:ext uri="{FF2B5EF4-FFF2-40B4-BE49-F238E27FC236}">
                    <a16:creationId xmlns="" xmlns:a16="http://schemas.microsoft.com/office/drawing/2014/main" id="{6241DAB9-04E0-394A-822D-62D47D87B799}"/>
                  </a:ext>
                </a:extLst>
              </p:cNvPr>
              <p:cNvSpPr/>
              <p:nvPr/>
            </p:nvSpPr>
            <p:spPr>
              <a:xfrm>
                <a:off x="797048" y="3827975"/>
                <a:ext cx="731520" cy="515326"/>
              </a:xfrm>
              <a:prstGeom prst="ellipse">
                <a:avLst/>
              </a:prstGeom>
              <a:solidFill>
                <a:srgbClr val="1CADE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white"/>
                    </a:solidFill>
                    <a:latin typeface="Calibri" panose="020F0502020204030204"/>
                  </a:rPr>
                  <a:t>1.</a:t>
                </a: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8" name="Group 107">
              <a:extLst>
                <a:ext uri="{FF2B5EF4-FFF2-40B4-BE49-F238E27FC236}">
                  <a16:creationId xmlns="" xmlns:a16="http://schemas.microsoft.com/office/drawing/2014/main" id="{814778D4-74D4-1B4D-BB64-411F9D654537}"/>
                </a:ext>
              </a:extLst>
            </p:cNvPr>
            <p:cNvGrpSpPr/>
            <p:nvPr/>
          </p:nvGrpSpPr>
          <p:grpSpPr>
            <a:xfrm>
              <a:off x="797048" y="4449232"/>
              <a:ext cx="4849913" cy="538168"/>
              <a:chOff x="797048" y="4449232"/>
              <a:chExt cx="4849913" cy="538168"/>
            </a:xfrm>
          </p:grpSpPr>
          <p:sp>
            <p:nvSpPr>
              <p:cNvPr id="59" name="TextBox 58">
                <a:extLst>
                  <a:ext uri="{FF2B5EF4-FFF2-40B4-BE49-F238E27FC236}">
                    <a16:creationId xmlns="" xmlns:a16="http://schemas.microsoft.com/office/drawing/2014/main" id="{0821A6B1-5BF4-0F4C-8F42-99518969EB7E}"/>
                  </a:ext>
                </a:extLst>
              </p:cNvPr>
              <p:cNvSpPr txBox="1"/>
              <p:nvPr/>
            </p:nvSpPr>
            <p:spPr>
              <a:xfrm>
                <a:off x="1636599" y="4609573"/>
                <a:ext cx="4010362" cy="338554"/>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Profit vs Non-Profit</a:t>
                </a:r>
              </a:p>
            </p:txBody>
          </p:sp>
          <p:sp>
            <p:nvSpPr>
              <p:cNvPr id="51" name="Oval 50">
                <a:extLst>
                  <a:ext uri="{FF2B5EF4-FFF2-40B4-BE49-F238E27FC236}">
                    <a16:creationId xmlns="" xmlns:a16="http://schemas.microsoft.com/office/drawing/2014/main" id="{A80284DC-CF12-E54F-A6F1-A341ABE1432E}"/>
                  </a:ext>
                </a:extLst>
              </p:cNvPr>
              <p:cNvSpPr/>
              <p:nvPr/>
            </p:nvSpPr>
            <p:spPr>
              <a:xfrm>
                <a:off x="797048" y="4449232"/>
                <a:ext cx="731520" cy="538168"/>
              </a:xfrm>
              <a:prstGeom prst="ellipse">
                <a:avLst/>
              </a:prstGeom>
              <a:solidFill>
                <a:srgbClr val="2683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2.</a:t>
                </a:r>
              </a:p>
            </p:txBody>
          </p:sp>
        </p:grpSp>
        <p:grpSp>
          <p:nvGrpSpPr>
            <p:cNvPr id="110" name="Group 109">
              <a:extLst>
                <a:ext uri="{FF2B5EF4-FFF2-40B4-BE49-F238E27FC236}">
                  <a16:creationId xmlns="" xmlns:a16="http://schemas.microsoft.com/office/drawing/2014/main" id="{F77D081A-869E-5D42-8C3A-417EE3BB5D50}"/>
                </a:ext>
              </a:extLst>
            </p:cNvPr>
            <p:cNvGrpSpPr/>
            <p:nvPr/>
          </p:nvGrpSpPr>
          <p:grpSpPr>
            <a:xfrm>
              <a:off x="1636599" y="5763490"/>
              <a:ext cx="5692370" cy="515327"/>
              <a:chOff x="1636599" y="5763490"/>
              <a:chExt cx="5692370" cy="515327"/>
            </a:xfrm>
          </p:grpSpPr>
          <p:sp>
            <p:nvSpPr>
              <p:cNvPr id="64" name="TextBox 63">
                <a:extLst>
                  <a:ext uri="{FF2B5EF4-FFF2-40B4-BE49-F238E27FC236}">
                    <a16:creationId xmlns="" xmlns:a16="http://schemas.microsoft.com/office/drawing/2014/main" id="{882C2105-1F2A-874F-A291-85A85B155C76}"/>
                  </a:ext>
                </a:extLst>
              </p:cNvPr>
              <p:cNvSpPr txBox="1"/>
              <p:nvPr/>
            </p:nvSpPr>
            <p:spPr>
              <a:xfrm>
                <a:off x="1636599" y="5940263"/>
                <a:ext cx="4010362" cy="338554"/>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Dialysis Station Stats</a:t>
                </a:r>
              </a:p>
            </p:txBody>
          </p:sp>
          <p:sp>
            <p:nvSpPr>
              <p:cNvPr id="54" name="Oval 53">
                <a:extLst>
                  <a:ext uri="{FF2B5EF4-FFF2-40B4-BE49-F238E27FC236}">
                    <a16:creationId xmlns="" xmlns:a16="http://schemas.microsoft.com/office/drawing/2014/main" id="{F28350DE-C628-8C41-8470-E69CD7FDF340}"/>
                  </a:ext>
                </a:extLst>
              </p:cNvPr>
              <p:cNvSpPr/>
              <p:nvPr/>
            </p:nvSpPr>
            <p:spPr>
              <a:xfrm>
                <a:off x="6597449" y="5763490"/>
                <a:ext cx="731520" cy="515327"/>
              </a:xfrm>
              <a:prstGeom prst="ellipse">
                <a:avLst/>
              </a:prstGeom>
              <a:solidFill>
                <a:srgbClr val="3E8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8.</a:t>
                </a:r>
              </a:p>
            </p:txBody>
          </p:sp>
        </p:grpSp>
        <p:grpSp>
          <p:nvGrpSpPr>
            <p:cNvPr id="111" name="Group 110">
              <a:extLst>
                <a:ext uri="{FF2B5EF4-FFF2-40B4-BE49-F238E27FC236}">
                  <a16:creationId xmlns="" xmlns:a16="http://schemas.microsoft.com/office/drawing/2014/main" id="{44A0848B-8729-604B-85F1-D51AD470C9D4}"/>
                </a:ext>
              </a:extLst>
            </p:cNvPr>
            <p:cNvGrpSpPr/>
            <p:nvPr/>
          </p:nvGrpSpPr>
          <p:grpSpPr>
            <a:xfrm>
              <a:off x="1636599" y="4243539"/>
              <a:ext cx="5397728" cy="1379430"/>
              <a:chOff x="1636599" y="4243539"/>
              <a:chExt cx="5397728" cy="1379430"/>
            </a:xfrm>
          </p:grpSpPr>
          <p:sp>
            <p:nvSpPr>
              <p:cNvPr id="62" name="TextBox 61">
                <a:extLst>
                  <a:ext uri="{FF2B5EF4-FFF2-40B4-BE49-F238E27FC236}">
                    <a16:creationId xmlns="" xmlns:a16="http://schemas.microsoft.com/office/drawing/2014/main" id="{02E65487-ABD9-2842-B73E-580376BFB6C2}"/>
                  </a:ext>
                </a:extLst>
              </p:cNvPr>
              <p:cNvSpPr txBox="1"/>
              <p:nvPr/>
            </p:nvSpPr>
            <p:spPr>
              <a:xfrm>
                <a:off x="1636599" y="5185305"/>
                <a:ext cx="4010362" cy="437664"/>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Top 3 Chain Organization in terms of no. of dialysis stations</a:t>
                </a:r>
                <a:endParaRPr lang="en-IN" sz="1600" dirty="0">
                  <a:latin typeface="+mj-lt"/>
                </a:endParaRPr>
              </a:p>
            </p:txBody>
          </p:sp>
          <p:sp>
            <p:nvSpPr>
              <p:cNvPr id="89" name="Freeform 88">
                <a:extLst>
                  <a:ext uri="{FF2B5EF4-FFF2-40B4-BE49-F238E27FC236}">
                    <a16:creationId xmlns="" xmlns:a16="http://schemas.microsoft.com/office/drawing/2014/main" id="{34C5887C-93FF-C74B-9A29-A842545E34CA}"/>
                  </a:ext>
                </a:extLst>
              </p:cNvPr>
              <p:cNvSpPr>
                <a:spLocks/>
              </p:cNvSpPr>
              <p:nvPr/>
            </p:nvSpPr>
            <p:spPr bwMode="auto">
              <a:xfrm>
                <a:off x="6922808" y="4243539"/>
                <a:ext cx="111519" cy="11808"/>
              </a:xfrm>
              <a:custGeom>
                <a:avLst/>
                <a:gdLst>
                  <a:gd name="T0" fmla="*/ 34 w 36"/>
                  <a:gd name="T1" fmla="*/ 0 h 4"/>
                  <a:gd name="T2" fmla="*/ 2 w 36"/>
                  <a:gd name="T3" fmla="*/ 0 h 4"/>
                  <a:gd name="T4" fmla="*/ 0 w 36"/>
                  <a:gd name="T5" fmla="*/ 2 h 4"/>
                  <a:gd name="T6" fmla="*/ 2 w 36"/>
                  <a:gd name="T7" fmla="*/ 4 h 4"/>
                  <a:gd name="T8" fmla="*/ 34 w 36"/>
                  <a:gd name="T9" fmla="*/ 4 h 4"/>
                  <a:gd name="T10" fmla="*/ 36 w 36"/>
                  <a:gd name="T11" fmla="*/ 2 h 4"/>
                  <a:gd name="T12" fmla="*/ 34 w 3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0"/>
                    </a:moveTo>
                    <a:cubicBezTo>
                      <a:pt x="2" y="0"/>
                      <a:pt x="2" y="0"/>
                      <a:pt x="2" y="0"/>
                    </a:cubicBezTo>
                    <a:cubicBezTo>
                      <a:pt x="1" y="0"/>
                      <a:pt x="0" y="1"/>
                      <a:pt x="0" y="2"/>
                    </a:cubicBezTo>
                    <a:cubicBezTo>
                      <a:pt x="0" y="3"/>
                      <a:pt x="1" y="4"/>
                      <a:pt x="2" y="4"/>
                    </a:cubicBezTo>
                    <a:cubicBezTo>
                      <a:pt x="34" y="4"/>
                      <a:pt x="34" y="4"/>
                      <a:pt x="34" y="4"/>
                    </a:cubicBezTo>
                    <a:cubicBezTo>
                      <a:pt x="35" y="4"/>
                      <a:pt x="36" y="3"/>
                      <a:pt x="36" y="2"/>
                    </a:cubicBezTo>
                    <a:cubicBezTo>
                      <a:pt x="36" y="1"/>
                      <a:pt x="35" y="0"/>
                      <a:pt x="3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grpSp>
      </p:grpSp>
      <p:sp>
        <p:nvSpPr>
          <p:cNvPr id="4" name="Oval 3">
            <a:extLst>
              <a:ext uri="{FF2B5EF4-FFF2-40B4-BE49-F238E27FC236}">
                <a16:creationId xmlns="" xmlns:a16="http://schemas.microsoft.com/office/drawing/2014/main" id="{31739F6B-4B8E-F28C-8048-5F4E8B5998AC}"/>
              </a:ext>
            </a:extLst>
          </p:cNvPr>
          <p:cNvSpPr/>
          <p:nvPr/>
        </p:nvSpPr>
        <p:spPr>
          <a:xfrm>
            <a:off x="925000" y="5377035"/>
            <a:ext cx="731520" cy="688541"/>
          </a:xfrm>
          <a:prstGeom prst="ellipse">
            <a:avLst/>
          </a:prstGeom>
          <a:solidFill>
            <a:srgbClr val="2683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4.</a:t>
            </a:r>
          </a:p>
        </p:txBody>
      </p:sp>
      <p:sp>
        <p:nvSpPr>
          <p:cNvPr id="5" name="Oval 4">
            <a:extLst>
              <a:ext uri="{FF2B5EF4-FFF2-40B4-BE49-F238E27FC236}">
                <a16:creationId xmlns="" xmlns:a16="http://schemas.microsoft.com/office/drawing/2014/main" id="{D716A8A3-C9A1-A22F-06CD-7E799AB3F86C}"/>
              </a:ext>
            </a:extLst>
          </p:cNvPr>
          <p:cNvSpPr/>
          <p:nvPr/>
        </p:nvSpPr>
        <p:spPr>
          <a:xfrm>
            <a:off x="6697375" y="2843173"/>
            <a:ext cx="731520" cy="663404"/>
          </a:xfrm>
          <a:prstGeom prst="ellipse">
            <a:avLst/>
          </a:prstGeom>
          <a:solidFill>
            <a:srgbClr val="42BA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5.</a:t>
            </a:r>
          </a:p>
        </p:txBody>
      </p:sp>
      <p:sp>
        <p:nvSpPr>
          <p:cNvPr id="6" name="Oval 5">
            <a:extLst>
              <a:ext uri="{FF2B5EF4-FFF2-40B4-BE49-F238E27FC236}">
                <a16:creationId xmlns="" xmlns:a16="http://schemas.microsoft.com/office/drawing/2014/main" id="{3D6E9691-EED9-5A8C-3EB0-CCD672372E39}"/>
              </a:ext>
            </a:extLst>
          </p:cNvPr>
          <p:cNvSpPr/>
          <p:nvPr/>
        </p:nvSpPr>
        <p:spPr>
          <a:xfrm>
            <a:off x="6706567" y="3648113"/>
            <a:ext cx="731520" cy="666587"/>
          </a:xfrm>
          <a:prstGeom prst="ellipse">
            <a:avLst/>
          </a:prstGeom>
          <a:solidFill>
            <a:srgbClr val="3E885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6.</a:t>
            </a:r>
          </a:p>
        </p:txBody>
      </p:sp>
      <p:sp>
        <p:nvSpPr>
          <p:cNvPr id="7" name="Oval 6">
            <a:extLst>
              <a:ext uri="{FF2B5EF4-FFF2-40B4-BE49-F238E27FC236}">
                <a16:creationId xmlns="" xmlns:a16="http://schemas.microsoft.com/office/drawing/2014/main" id="{E317A177-62AB-CF32-0086-8A74598FA398}"/>
              </a:ext>
            </a:extLst>
          </p:cNvPr>
          <p:cNvSpPr/>
          <p:nvPr/>
        </p:nvSpPr>
        <p:spPr>
          <a:xfrm>
            <a:off x="928824" y="4527834"/>
            <a:ext cx="731520" cy="688541"/>
          </a:xfrm>
          <a:prstGeom prst="ellipse">
            <a:avLst/>
          </a:prstGeom>
          <a:solidFill>
            <a:srgbClr val="1CADE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9" name="Oval 8">
            <a:extLst>
              <a:ext uri="{FF2B5EF4-FFF2-40B4-BE49-F238E27FC236}">
                <a16:creationId xmlns="" xmlns:a16="http://schemas.microsoft.com/office/drawing/2014/main" id="{9D3B55C2-DD4A-3C92-AC5A-C7B0DB895CDF}"/>
              </a:ext>
            </a:extLst>
          </p:cNvPr>
          <p:cNvSpPr/>
          <p:nvPr/>
        </p:nvSpPr>
        <p:spPr>
          <a:xfrm>
            <a:off x="6706567" y="4553767"/>
            <a:ext cx="731520" cy="675973"/>
          </a:xfrm>
          <a:prstGeom prst="ellipse">
            <a:avLst/>
          </a:prstGeom>
          <a:solidFill>
            <a:srgbClr val="42BA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7.</a:t>
            </a:r>
          </a:p>
        </p:txBody>
      </p:sp>
      <p:sp>
        <p:nvSpPr>
          <p:cNvPr id="11" name="TextBox 10">
            <a:extLst>
              <a:ext uri="{FF2B5EF4-FFF2-40B4-BE49-F238E27FC236}">
                <a16:creationId xmlns="" xmlns:a16="http://schemas.microsoft.com/office/drawing/2014/main" id="{8AC4E5EB-2D91-6065-466D-E5BD44D9D351}"/>
              </a:ext>
            </a:extLst>
          </p:cNvPr>
          <p:cNvSpPr txBox="1"/>
          <p:nvPr/>
        </p:nvSpPr>
        <p:spPr>
          <a:xfrm>
            <a:off x="7671447" y="4599365"/>
            <a:ext cx="4010362" cy="584775"/>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Top 3 Facilities in terms of Total Performance Score</a:t>
            </a:r>
          </a:p>
        </p:txBody>
      </p:sp>
      <p:sp>
        <p:nvSpPr>
          <p:cNvPr id="12" name="TextBox 11">
            <a:extLst>
              <a:ext uri="{FF2B5EF4-FFF2-40B4-BE49-F238E27FC236}">
                <a16:creationId xmlns="" xmlns:a16="http://schemas.microsoft.com/office/drawing/2014/main" id="{4C45FC9D-7671-0C93-85AB-F95EC9801981}"/>
              </a:ext>
            </a:extLst>
          </p:cNvPr>
          <p:cNvSpPr txBox="1"/>
          <p:nvPr/>
        </p:nvSpPr>
        <p:spPr>
          <a:xfrm>
            <a:off x="7671447" y="2976649"/>
            <a:ext cx="4010362" cy="338554"/>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No of Category Text – As Expected</a:t>
            </a:r>
          </a:p>
        </p:txBody>
      </p:sp>
      <p:sp>
        <p:nvSpPr>
          <p:cNvPr id="13" name="TextBox 12">
            <a:extLst>
              <a:ext uri="{FF2B5EF4-FFF2-40B4-BE49-F238E27FC236}">
                <a16:creationId xmlns="" xmlns:a16="http://schemas.microsoft.com/office/drawing/2014/main" id="{6856522D-F8AD-3A35-C132-F06BE4757435}"/>
              </a:ext>
            </a:extLst>
          </p:cNvPr>
          <p:cNvSpPr txBox="1"/>
          <p:nvPr/>
        </p:nvSpPr>
        <p:spPr>
          <a:xfrm>
            <a:off x="7616246" y="3845360"/>
            <a:ext cx="4010362" cy="338554"/>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 No of Score Applied - Improvement</a:t>
            </a:r>
          </a:p>
        </p:txBody>
      </p:sp>
      <p:sp>
        <p:nvSpPr>
          <p:cNvPr id="14" name="TextBox 13">
            <a:extLst>
              <a:ext uri="{FF2B5EF4-FFF2-40B4-BE49-F238E27FC236}">
                <a16:creationId xmlns="" xmlns:a16="http://schemas.microsoft.com/office/drawing/2014/main" id="{EF256FC1-4479-DF56-BB88-75450F784FCC}"/>
              </a:ext>
            </a:extLst>
          </p:cNvPr>
          <p:cNvSpPr txBox="1"/>
          <p:nvPr/>
        </p:nvSpPr>
        <p:spPr>
          <a:xfrm>
            <a:off x="7671447" y="5552028"/>
            <a:ext cx="4010362" cy="338554"/>
          </a:xfrm>
          <a:prstGeom prst="rect">
            <a:avLst/>
          </a:prstGeom>
          <a:noFill/>
        </p:spPr>
        <p:txBody>
          <a:bodyPr wrap="square" rtlCol="0">
            <a:spAutoFit/>
          </a:bodyPr>
          <a:lstStyle/>
          <a:p>
            <a:r>
              <a:rPr lang="en-US" sz="1600" b="1" dirty="0">
                <a:solidFill>
                  <a:srgbClr val="335B74"/>
                </a:solidFill>
                <a:latin typeface="Segoe UI" panose="020B0502040204020203" pitchFamily="34" charset="0"/>
                <a:ea typeface="Open Sans" panose="020B0606030504020204" pitchFamily="34" charset="0"/>
                <a:cs typeface="Segoe UI" panose="020B0502040204020203" pitchFamily="34" charset="0"/>
              </a:rPr>
              <a:t>Average Payment Reduction Rate</a:t>
            </a:r>
          </a:p>
        </p:txBody>
      </p:sp>
    </p:spTree>
    <p:extLst>
      <p:ext uri="{BB962C8B-B14F-4D97-AF65-F5344CB8AC3E}">
        <p14:creationId xmlns:p14="http://schemas.microsoft.com/office/powerpoint/2010/main" val="4118583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BE4D1C8D-7F36-4904-9201-EB088F150314}"/>
              </a:ext>
            </a:extLst>
          </p:cNvPr>
          <p:cNvGraphicFramePr>
            <a:graphicFrameLocks noChangeAspect="1"/>
          </p:cNvGraphicFramePr>
          <p:nvPr>
            <p:custDataLst>
              <p:tags r:id="rId2"/>
            </p:custDataLst>
            <p:extLst>
              <p:ext uri="{D42A27DB-BD31-4B8C-83A1-F6EECF244321}">
                <p14:modId xmlns:p14="http://schemas.microsoft.com/office/powerpoint/2010/main" val="3140781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378" imgH="379" progId="TCLayout.ActiveDocument.1">
                  <p:embed/>
                </p:oleObj>
              </mc:Choice>
              <mc:Fallback>
                <p:oleObj name="think-cell Slide" r:id="rId4" imgW="378" imgH="379" progId="TCLayout.ActiveDocument.1">
                  <p:embed/>
                  <p:pic>
                    <p:nvPicPr>
                      <p:cNvPr id="10" name="Object 9" hidden="1">
                        <a:extLst>
                          <a:ext uri="{FF2B5EF4-FFF2-40B4-BE49-F238E27FC236}">
                            <a16:creationId xmlns="" xmlns:a16="http://schemas.microsoft.com/office/drawing/2014/main" id="{BE4D1C8D-7F36-4904-9201-EB088F1503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 xmlns:a16="http://schemas.microsoft.com/office/drawing/2014/main" id="{D59175AD-F464-5142-B543-B7C2D714BC6F}"/>
              </a:ext>
            </a:extLst>
          </p:cNvPr>
          <p:cNvSpPr/>
          <p:nvPr/>
        </p:nvSpPr>
        <p:spPr>
          <a:xfrm>
            <a:off x="534650" y="838602"/>
            <a:ext cx="3567087" cy="4720690"/>
          </a:xfrm>
          <a:prstGeom prst="rect">
            <a:avLst/>
          </a:prstGeom>
          <a:solidFill>
            <a:schemeClr val="bg1"/>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z</a:t>
            </a:r>
          </a:p>
        </p:txBody>
      </p:sp>
      <p:sp>
        <p:nvSpPr>
          <p:cNvPr id="20" name="TextBox 19">
            <a:extLst>
              <a:ext uri="{FF2B5EF4-FFF2-40B4-BE49-F238E27FC236}">
                <a16:creationId xmlns="" xmlns:a16="http://schemas.microsoft.com/office/drawing/2014/main" id="{AC8C2F83-9228-804F-A5AB-F50EAFE5327D}"/>
              </a:ext>
            </a:extLst>
          </p:cNvPr>
          <p:cNvSpPr txBox="1"/>
          <p:nvPr/>
        </p:nvSpPr>
        <p:spPr>
          <a:xfrm>
            <a:off x="1487533" y="3303747"/>
            <a:ext cx="2788440" cy="1446550"/>
          </a:xfrm>
          <a:prstGeom prst="rect">
            <a:avLst/>
          </a:prstGeom>
          <a:noFill/>
          <a:ln>
            <a:noFill/>
          </a:ln>
        </p:spPr>
        <p:txBody>
          <a:bodyPr wrap="square" rtlCol="0">
            <a:spAutoFit/>
          </a:bodyPr>
          <a:lstStyle/>
          <a:p>
            <a:r>
              <a:rPr lang="en-US" sz="4400" b="1" dirty="0">
                <a:solidFill>
                  <a:srgbClr val="2AAEE2"/>
                </a:solidFill>
                <a:latin typeface="Segoe UI" panose="020B0502040204020203" pitchFamily="34" charset="0"/>
                <a:ea typeface="Open Sans" panose="020B0606030504020204" pitchFamily="34" charset="0"/>
                <a:cs typeface="Segoe UI" panose="020B0502040204020203" pitchFamily="34" charset="0"/>
              </a:rPr>
              <a:t>Work Done</a:t>
            </a:r>
          </a:p>
        </p:txBody>
      </p:sp>
      <p:cxnSp>
        <p:nvCxnSpPr>
          <p:cNvPr id="47" name="Straight Connector 46">
            <a:extLst>
              <a:ext uri="{FF2B5EF4-FFF2-40B4-BE49-F238E27FC236}">
                <a16:creationId xmlns="" xmlns:a16="http://schemas.microsoft.com/office/drawing/2014/main" id="{2CE9D103-BA5A-47AB-AC94-04AF674126CF}"/>
              </a:ext>
            </a:extLst>
          </p:cNvPr>
          <p:cNvCxnSpPr>
            <a:cxnSpLocks/>
            <a:stCxn id="39" idx="6"/>
          </p:cNvCxnSpPr>
          <p:nvPr/>
        </p:nvCxnSpPr>
        <p:spPr>
          <a:xfrm>
            <a:off x="5659246" y="5395119"/>
            <a:ext cx="48909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E747A87B-A8A6-447E-89BD-CF4C8F3E5861}"/>
              </a:ext>
            </a:extLst>
          </p:cNvPr>
          <p:cNvCxnSpPr>
            <a:cxnSpLocks/>
            <a:stCxn id="33" idx="6"/>
            <a:endCxn id="37" idx="2"/>
          </p:cNvCxnSpPr>
          <p:nvPr/>
        </p:nvCxnSpPr>
        <p:spPr>
          <a:xfrm>
            <a:off x="5659246" y="3937793"/>
            <a:ext cx="48909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B2326575-6FD0-4784-9BCB-17A8BE168CD5}"/>
              </a:ext>
            </a:extLst>
          </p:cNvPr>
          <p:cNvCxnSpPr>
            <a:cxnSpLocks/>
            <a:stCxn id="27" idx="6"/>
            <a:endCxn id="31" idx="2"/>
          </p:cNvCxnSpPr>
          <p:nvPr/>
        </p:nvCxnSpPr>
        <p:spPr>
          <a:xfrm>
            <a:off x="5659246" y="2480466"/>
            <a:ext cx="48909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6609E6CD-7417-4903-BB4D-ACB25B467ECD}"/>
              </a:ext>
            </a:extLst>
          </p:cNvPr>
          <p:cNvCxnSpPr>
            <a:stCxn id="5" idx="6"/>
            <a:endCxn id="19" idx="2"/>
          </p:cNvCxnSpPr>
          <p:nvPr/>
        </p:nvCxnSpPr>
        <p:spPr>
          <a:xfrm>
            <a:off x="5659246" y="1023139"/>
            <a:ext cx="489095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 xmlns:a16="http://schemas.microsoft.com/office/drawing/2014/main" id="{A1861F2D-5B32-492B-9272-E05AE59FCD25}"/>
              </a:ext>
            </a:extLst>
          </p:cNvPr>
          <p:cNvSpPr/>
          <p:nvPr/>
        </p:nvSpPr>
        <p:spPr>
          <a:xfrm>
            <a:off x="5163946" y="775489"/>
            <a:ext cx="495300" cy="495300"/>
          </a:xfrm>
          <a:prstGeom prst="ellipse">
            <a:avLst/>
          </a:prstGeom>
          <a:solidFill>
            <a:srgbClr val="2AA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1</a:t>
            </a:r>
          </a:p>
        </p:txBody>
      </p:sp>
      <p:sp>
        <p:nvSpPr>
          <p:cNvPr id="14" name="Oval 13">
            <a:extLst>
              <a:ext uri="{FF2B5EF4-FFF2-40B4-BE49-F238E27FC236}">
                <a16:creationId xmlns="" xmlns:a16="http://schemas.microsoft.com/office/drawing/2014/main" id="{D494FF30-68C9-4486-B9E2-3811D4B3C2AE}"/>
              </a:ext>
            </a:extLst>
          </p:cNvPr>
          <p:cNvSpPr/>
          <p:nvPr/>
        </p:nvSpPr>
        <p:spPr>
          <a:xfrm>
            <a:off x="6959363" y="775489"/>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2</a:t>
            </a:r>
          </a:p>
        </p:txBody>
      </p:sp>
      <p:sp>
        <p:nvSpPr>
          <p:cNvPr id="15" name="Oval 14">
            <a:extLst>
              <a:ext uri="{FF2B5EF4-FFF2-40B4-BE49-F238E27FC236}">
                <a16:creationId xmlns="" xmlns:a16="http://schemas.microsoft.com/office/drawing/2014/main" id="{CD5D68BE-F9CF-4A66-98F1-B953AF0B3687}"/>
              </a:ext>
            </a:extLst>
          </p:cNvPr>
          <p:cNvSpPr/>
          <p:nvPr/>
        </p:nvSpPr>
        <p:spPr>
          <a:xfrm>
            <a:off x="8754780" y="775489"/>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3</a:t>
            </a:r>
          </a:p>
        </p:txBody>
      </p:sp>
      <p:sp>
        <p:nvSpPr>
          <p:cNvPr id="19" name="Oval 18">
            <a:extLst>
              <a:ext uri="{FF2B5EF4-FFF2-40B4-BE49-F238E27FC236}">
                <a16:creationId xmlns="" xmlns:a16="http://schemas.microsoft.com/office/drawing/2014/main" id="{8DB98B6F-FB82-4828-9EA3-850A56E4CE38}"/>
              </a:ext>
            </a:extLst>
          </p:cNvPr>
          <p:cNvSpPr/>
          <p:nvPr/>
        </p:nvSpPr>
        <p:spPr>
          <a:xfrm>
            <a:off x="10550198" y="775489"/>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4</a:t>
            </a:r>
          </a:p>
        </p:txBody>
      </p:sp>
      <p:sp>
        <p:nvSpPr>
          <p:cNvPr id="27" name="Oval 26">
            <a:extLst>
              <a:ext uri="{FF2B5EF4-FFF2-40B4-BE49-F238E27FC236}">
                <a16:creationId xmlns="" xmlns:a16="http://schemas.microsoft.com/office/drawing/2014/main" id="{9AE82673-89B1-4031-8A3B-A534AC2A1B48}"/>
              </a:ext>
            </a:extLst>
          </p:cNvPr>
          <p:cNvSpPr/>
          <p:nvPr/>
        </p:nvSpPr>
        <p:spPr>
          <a:xfrm>
            <a:off x="5163946" y="2232816"/>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1</a:t>
            </a:r>
          </a:p>
        </p:txBody>
      </p:sp>
      <p:sp>
        <p:nvSpPr>
          <p:cNvPr id="28" name="Oval 27">
            <a:extLst>
              <a:ext uri="{FF2B5EF4-FFF2-40B4-BE49-F238E27FC236}">
                <a16:creationId xmlns="" xmlns:a16="http://schemas.microsoft.com/office/drawing/2014/main" id="{64669F12-90A2-4A1A-8F01-9EED186F485D}"/>
              </a:ext>
            </a:extLst>
          </p:cNvPr>
          <p:cNvSpPr/>
          <p:nvPr/>
        </p:nvSpPr>
        <p:spPr>
          <a:xfrm>
            <a:off x="6959363" y="2232816"/>
            <a:ext cx="495300" cy="495300"/>
          </a:xfrm>
          <a:prstGeom prst="ellipse">
            <a:avLst/>
          </a:prstGeom>
          <a:solidFill>
            <a:srgbClr val="2AA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2</a:t>
            </a:r>
          </a:p>
        </p:txBody>
      </p:sp>
      <p:sp>
        <p:nvSpPr>
          <p:cNvPr id="29" name="Oval 28">
            <a:extLst>
              <a:ext uri="{FF2B5EF4-FFF2-40B4-BE49-F238E27FC236}">
                <a16:creationId xmlns="" xmlns:a16="http://schemas.microsoft.com/office/drawing/2014/main" id="{989F3C61-F00C-45BD-BCD1-75601E27B6C9}"/>
              </a:ext>
            </a:extLst>
          </p:cNvPr>
          <p:cNvSpPr/>
          <p:nvPr/>
        </p:nvSpPr>
        <p:spPr>
          <a:xfrm>
            <a:off x="8754780" y="2232816"/>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3</a:t>
            </a:r>
          </a:p>
        </p:txBody>
      </p:sp>
      <p:sp>
        <p:nvSpPr>
          <p:cNvPr id="31" name="Oval 30">
            <a:extLst>
              <a:ext uri="{FF2B5EF4-FFF2-40B4-BE49-F238E27FC236}">
                <a16:creationId xmlns="" xmlns:a16="http://schemas.microsoft.com/office/drawing/2014/main" id="{05AC0CD0-E563-4576-A23F-375F78B097BD}"/>
              </a:ext>
            </a:extLst>
          </p:cNvPr>
          <p:cNvSpPr/>
          <p:nvPr/>
        </p:nvSpPr>
        <p:spPr>
          <a:xfrm>
            <a:off x="10550198" y="2232816"/>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4</a:t>
            </a:r>
          </a:p>
        </p:txBody>
      </p:sp>
      <p:sp>
        <p:nvSpPr>
          <p:cNvPr id="33" name="Oval 32">
            <a:extLst>
              <a:ext uri="{FF2B5EF4-FFF2-40B4-BE49-F238E27FC236}">
                <a16:creationId xmlns="" xmlns:a16="http://schemas.microsoft.com/office/drawing/2014/main" id="{59C82474-104F-49B8-A7F2-A32A3C9E58F3}"/>
              </a:ext>
            </a:extLst>
          </p:cNvPr>
          <p:cNvSpPr/>
          <p:nvPr/>
        </p:nvSpPr>
        <p:spPr>
          <a:xfrm>
            <a:off x="5163946" y="3690143"/>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1</a:t>
            </a:r>
          </a:p>
        </p:txBody>
      </p:sp>
      <p:sp>
        <p:nvSpPr>
          <p:cNvPr id="34" name="Oval 33">
            <a:extLst>
              <a:ext uri="{FF2B5EF4-FFF2-40B4-BE49-F238E27FC236}">
                <a16:creationId xmlns="" xmlns:a16="http://schemas.microsoft.com/office/drawing/2014/main" id="{27EAA9F1-A012-4BB0-9695-643EBC3B79F5}"/>
              </a:ext>
            </a:extLst>
          </p:cNvPr>
          <p:cNvSpPr/>
          <p:nvPr/>
        </p:nvSpPr>
        <p:spPr>
          <a:xfrm>
            <a:off x="6959363" y="3690143"/>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2</a:t>
            </a:r>
          </a:p>
        </p:txBody>
      </p:sp>
      <p:sp>
        <p:nvSpPr>
          <p:cNvPr id="35" name="Oval 34">
            <a:extLst>
              <a:ext uri="{FF2B5EF4-FFF2-40B4-BE49-F238E27FC236}">
                <a16:creationId xmlns="" xmlns:a16="http://schemas.microsoft.com/office/drawing/2014/main" id="{26526EFC-0ABB-4CB7-B861-4E1351B410D4}"/>
              </a:ext>
            </a:extLst>
          </p:cNvPr>
          <p:cNvSpPr/>
          <p:nvPr/>
        </p:nvSpPr>
        <p:spPr>
          <a:xfrm>
            <a:off x="8754780" y="3690143"/>
            <a:ext cx="495300" cy="495300"/>
          </a:xfrm>
          <a:prstGeom prst="ellipse">
            <a:avLst/>
          </a:prstGeom>
          <a:solidFill>
            <a:srgbClr val="2AA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3</a:t>
            </a:r>
          </a:p>
        </p:txBody>
      </p:sp>
      <p:sp>
        <p:nvSpPr>
          <p:cNvPr id="37" name="Oval 36">
            <a:extLst>
              <a:ext uri="{FF2B5EF4-FFF2-40B4-BE49-F238E27FC236}">
                <a16:creationId xmlns="" xmlns:a16="http://schemas.microsoft.com/office/drawing/2014/main" id="{46FFFD08-1477-4C21-950F-616115843A48}"/>
              </a:ext>
            </a:extLst>
          </p:cNvPr>
          <p:cNvSpPr/>
          <p:nvPr/>
        </p:nvSpPr>
        <p:spPr>
          <a:xfrm>
            <a:off x="10550198" y="3690143"/>
            <a:ext cx="495300" cy="4953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4</a:t>
            </a:r>
          </a:p>
        </p:txBody>
      </p:sp>
      <p:sp>
        <p:nvSpPr>
          <p:cNvPr id="39" name="Oval 38">
            <a:extLst>
              <a:ext uri="{FF2B5EF4-FFF2-40B4-BE49-F238E27FC236}">
                <a16:creationId xmlns="" xmlns:a16="http://schemas.microsoft.com/office/drawing/2014/main" id="{A7E2E84B-897A-4C69-9437-A21DB77E49A2}"/>
              </a:ext>
            </a:extLst>
          </p:cNvPr>
          <p:cNvSpPr/>
          <p:nvPr/>
        </p:nvSpPr>
        <p:spPr>
          <a:xfrm>
            <a:off x="5163946" y="5147469"/>
            <a:ext cx="495300" cy="495300"/>
          </a:xfrm>
          <a:prstGeom prst="ellipse">
            <a:avLst/>
          </a:prstGeom>
          <a:solidFill>
            <a:srgbClr val="2AA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dirty="0"/>
              <a:t>4</a:t>
            </a:r>
          </a:p>
        </p:txBody>
      </p:sp>
      <p:sp>
        <p:nvSpPr>
          <p:cNvPr id="51" name="Rectangle 50">
            <a:extLst>
              <a:ext uri="{FF2B5EF4-FFF2-40B4-BE49-F238E27FC236}">
                <a16:creationId xmlns="" xmlns:a16="http://schemas.microsoft.com/office/drawing/2014/main" id="{AE49F1D8-2E25-4C7B-B83E-04A4CB4510E8}"/>
              </a:ext>
            </a:extLst>
          </p:cNvPr>
          <p:cNvSpPr>
            <a:spLocks noChangeArrowheads="1"/>
          </p:cNvSpPr>
          <p:nvPr/>
        </p:nvSpPr>
        <p:spPr bwMode="auto">
          <a:xfrm>
            <a:off x="4522476" y="1354253"/>
            <a:ext cx="178447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ctr"/>
            <a:r>
              <a:rPr lang="en-US" sz="1400" dirty="0">
                <a:latin typeface="Calibri" panose="020F0502020204030204"/>
                <a:ea typeface="Open Sans" panose="020B0606030504020204" pitchFamily="34" charset="0"/>
                <a:cs typeface="Open Sans" panose="020B0606030504020204" pitchFamily="34" charset="0"/>
              </a:rPr>
              <a:t>EXCEL DASHBOARD &amp; MySQL</a:t>
            </a:r>
          </a:p>
        </p:txBody>
      </p:sp>
      <p:sp>
        <p:nvSpPr>
          <p:cNvPr id="52" name="Rectangle 51">
            <a:extLst>
              <a:ext uri="{FF2B5EF4-FFF2-40B4-BE49-F238E27FC236}">
                <a16:creationId xmlns="" xmlns:a16="http://schemas.microsoft.com/office/drawing/2014/main" id="{A839AEF0-392F-4D88-80F1-E811EFCCB616}"/>
              </a:ext>
            </a:extLst>
          </p:cNvPr>
          <p:cNvSpPr>
            <a:spLocks noChangeArrowheads="1"/>
          </p:cNvSpPr>
          <p:nvPr/>
        </p:nvSpPr>
        <p:spPr bwMode="auto">
          <a:xfrm>
            <a:off x="6320252" y="2811578"/>
            <a:ext cx="178447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ctr"/>
            <a:r>
              <a:rPr lang="en-US" sz="1400" dirty="0">
                <a:latin typeface="Calibri" panose="020F0502020204030204"/>
                <a:ea typeface="Open Sans" panose="020B0606030504020204" pitchFamily="34" charset="0"/>
                <a:cs typeface="Open Sans" panose="020B0606030504020204" pitchFamily="34" charset="0"/>
              </a:rPr>
              <a:t>TABLEAU DASHBOARD</a:t>
            </a:r>
          </a:p>
        </p:txBody>
      </p:sp>
      <p:sp>
        <p:nvSpPr>
          <p:cNvPr id="53" name="Rectangle 52">
            <a:extLst>
              <a:ext uri="{FF2B5EF4-FFF2-40B4-BE49-F238E27FC236}">
                <a16:creationId xmlns="" xmlns:a16="http://schemas.microsoft.com/office/drawing/2014/main" id="{D50616F5-F345-45C8-98E4-629F8067EB61}"/>
              </a:ext>
            </a:extLst>
          </p:cNvPr>
          <p:cNvSpPr>
            <a:spLocks noChangeArrowheads="1"/>
          </p:cNvSpPr>
          <p:nvPr/>
        </p:nvSpPr>
        <p:spPr bwMode="auto">
          <a:xfrm>
            <a:off x="8104722" y="4325344"/>
            <a:ext cx="178447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ctr"/>
            <a:r>
              <a:rPr lang="en-US" sz="1400" dirty="0">
                <a:latin typeface="Calibri" panose="020F0502020204030204"/>
                <a:ea typeface="Open Sans" panose="020B0606030504020204" pitchFamily="34" charset="0"/>
                <a:cs typeface="Open Sans" panose="020B0606030504020204" pitchFamily="34" charset="0"/>
              </a:rPr>
              <a:t>POWER BI DASHBOARD</a:t>
            </a:r>
          </a:p>
        </p:txBody>
      </p:sp>
      <p:sp>
        <p:nvSpPr>
          <p:cNvPr id="54" name="Rectangle 53">
            <a:extLst>
              <a:ext uri="{FF2B5EF4-FFF2-40B4-BE49-F238E27FC236}">
                <a16:creationId xmlns="" xmlns:a16="http://schemas.microsoft.com/office/drawing/2014/main" id="{6E11418F-C25A-49A1-A944-451CAFEA68DA}"/>
              </a:ext>
            </a:extLst>
          </p:cNvPr>
          <p:cNvSpPr>
            <a:spLocks noChangeArrowheads="1"/>
          </p:cNvSpPr>
          <p:nvPr/>
        </p:nvSpPr>
        <p:spPr bwMode="auto">
          <a:xfrm>
            <a:off x="5865924" y="5559292"/>
            <a:ext cx="468427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r>
              <a:rPr lang="en-US" sz="1400" b="1" i="1" dirty="0">
                <a:solidFill>
                  <a:srgbClr val="2AAEE2"/>
                </a:solidFill>
                <a:latin typeface="Calibri" panose="020F0502020204030204"/>
                <a:ea typeface="Open Sans" panose="020B0606030504020204" pitchFamily="34" charset="0"/>
                <a:cs typeface="Open Sans" panose="020B0606030504020204" pitchFamily="34" charset="0"/>
              </a:rPr>
              <a:t>FINAL PRESENTATION</a:t>
            </a:r>
          </a:p>
        </p:txBody>
      </p:sp>
      <p:pic>
        <p:nvPicPr>
          <p:cNvPr id="4" name="Picture 3">
            <a:extLst>
              <a:ext uri="{FF2B5EF4-FFF2-40B4-BE49-F238E27FC236}">
                <a16:creationId xmlns="" xmlns:a16="http://schemas.microsoft.com/office/drawing/2014/main" id="{36CBA926-7662-01C5-BE93-8CBD4DD03E55}"/>
              </a:ext>
            </a:extLst>
          </p:cNvPr>
          <p:cNvPicPr>
            <a:picLocks noChangeAspect="1"/>
          </p:cNvPicPr>
          <p:nvPr/>
        </p:nvPicPr>
        <p:blipFill>
          <a:blip r:embed="rId6"/>
          <a:stretch>
            <a:fillRect/>
          </a:stretch>
        </p:blipFill>
        <p:spPr>
          <a:xfrm>
            <a:off x="1194714" y="957185"/>
            <a:ext cx="2286000" cy="2286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321725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4DAAAEAF-149C-0D74-7BDE-98431CF93561}"/>
              </a:ext>
            </a:extLst>
          </p:cNvPr>
          <p:cNvPicPr>
            <a:picLocks noChangeAspect="1"/>
          </p:cNvPicPr>
          <p:nvPr/>
        </p:nvPicPr>
        <p:blipFill>
          <a:blip r:embed="rId2"/>
          <a:stretch>
            <a:fillRect/>
          </a:stretch>
        </p:blipFill>
        <p:spPr>
          <a:xfrm>
            <a:off x="1" y="671804"/>
            <a:ext cx="6643396" cy="6186196"/>
          </a:xfrm>
          <a:prstGeom prst="rect">
            <a:avLst/>
          </a:prstGeom>
        </p:spPr>
      </p:pic>
      <p:pic>
        <p:nvPicPr>
          <p:cNvPr id="5" name="Picture 4">
            <a:extLst>
              <a:ext uri="{FF2B5EF4-FFF2-40B4-BE49-F238E27FC236}">
                <a16:creationId xmlns="" xmlns:a16="http://schemas.microsoft.com/office/drawing/2014/main" id="{6ED0AEE7-4A49-0FEE-A343-755F89236074}"/>
              </a:ext>
            </a:extLst>
          </p:cNvPr>
          <p:cNvPicPr>
            <a:picLocks noChangeAspect="1"/>
          </p:cNvPicPr>
          <p:nvPr/>
        </p:nvPicPr>
        <p:blipFill>
          <a:blip r:embed="rId3"/>
          <a:stretch>
            <a:fillRect/>
          </a:stretch>
        </p:blipFill>
        <p:spPr>
          <a:xfrm>
            <a:off x="6578082" y="671804"/>
            <a:ext cx="5613919" cy="6186195"/>
          </a:xfrm>
          <a:prstGeom prst="rect">
            <a:avLst/>
          </a:prstGeom>
        </p:spPr>
      </p:pic>
      <p:sp>
        <p:nvSpPr>
          <p:cNvPr id="7" name="Rectangle 6">
            <a:extLst>
              <a:ext uri="{FF2B5EF4-FFF2-40B4-BE49-F238E27FC236}">
                <a16:creationId xmlns="" xmlns:a16="http://schemas.microsoft.com/office/drawing/2014/main" id="{5FFA6C0B-1F3C-99E8-4ECF-18944F79E9A7}"/>
              </a:ext>
            </a:extLst>
          </p:cNvPr>
          <p:cNvSpPr/>
          <p:nvPr/>
        </p:nvSpPr>
        <p:spPr>
          <a:xfrm>
            <a:off x="1" y="1"/>
            <a:ext cx="12191997" cy="671804"/>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 xmlns:a16="http://schemas.microsoft.com/office/drawing/2014/main" id="{6F27B4D3-55F6-4A4F-85F0-819F8C34E7B5}"/>
              </a:ext>
            </a:extLst>
          </p:cNvPr>
          <p:cNvSpPr txBox="1"/>
          <p:nvPr/>
        </p:nvSpPr>
        <p:spPr>
          <a:xfrm>
            <a:off x="73089" y="177868"/>
            <a:ext cx="11597951" cy="369332"/>
          </a:xfrm>
          <a:prstGeom prst="rect">
            <a:avLst/>
          </a:prstGeom>
          <a:noFill/>
        </p:spPr>
        <p:txBody>
          <a:bodyPr wrap="square" rtlCol="0">
            <a:spAutoFit/>
          </a:bodyPr>
          <a:lstStyle/>
          <a:p>
            <a:pPr algn="ctr"/>
            <a:r>
              <a:rPr lang="en-US" b="1" dirty="0"/>
              <a:t>POWER BI DASHBOARD</a:t>
            </a:r>
            <a:endParaRPr lang="en-AE" b="1" dirty="0"/>
          </a:p>
        </p:txBody>
      </p:sp>
    </p:spTree>
    <p:extLst>
      <p:ext uri="{BB962C8B-B14F-4D97-AF65-F5344CB8AC3E}">
        <p14:creationId xmlns:p14="http://schemas.microsoft.com/office/powerpoint/2010/main" val="1956739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5FFA6C0B-1F3C-99E8-4ECF-18944F79E9A7}"/>
              </a:ext>
            </a:extLst>
          </p:cNvPr>
          <p:cNvSpPr/>
          <p:nvPr/>
        </p:nvSpPr>
        <p:spPr>
          <a:xfrm>
            <a:off x="1" y="1"/>
            <a:ext cx="12191997" cy="671804"/>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b="1" kern="0" dirty="0">
                <a:latin typeface="Calibri" panose="020F0502020204030204"/>
              </a:rPr>
              <a:t>TABLEAU DASHBOARD</a:t>
            </a:r>
            <a:endParaRPr kumimoji="0" lang="en-IN" sz="1800" b="1" i="0" u="none" strike="noStrike" kern="0" cap="none" spc="0" normalizeH="0" baseline="0" noProof="0" dirty="0">
              <a:ln>
                <a:noFill/>
              </a:ln>
              <a:effectLst/>
              <a:uLnTx/>
              <a:uFillTx/>
              <a:latin typeface="Calibri" panose="020F0502020204030204"/>
              <a:ea typeface="+mn-ea"/>
              <a:cs typeface="+mn-cs"/>
            </a:endParaRPr>
          </a:p>
        </p:txBody>
      </p:sp>
      <p:pic>
        <p:nvPicPr>
          <p:cNvPr id="11" name="Picture 10">
            <a:extLst>
              <a:ext uri="{FF2B5EF4-FFF2-40B4-BE49-F238E27FC236}">
                <a16:creationId xmlns="" xmlns:a16="http://schemas.microsoft.com/office/drawing/2014/main" id="{154EBF80-D976-CDF5-CA34-E6A015C4B906}"/>
              </a:ext>
            </a:extLst>
          </p:cNvPr>
          <p:cNvPicPr>
            <a:picLocks noChangeAspect="1"/>
          </p:cNvPicPr>
          <p:nvPr/>
        </p:nvPicPr>
        <p:blipFill>
          <a:blip r:embed="rId2"/>
          <a:stretch>
            <a:fillRect/>
          </a:stretch>
        </p:blipFill>
        <p:spPr>
          <a:xfrm>
            <a:off x="1" y="691591"/>
            <a:ext cx="12192000" cy="6166409"/>
          </a:xfrm>
          <a:prstGeom prst="rect">
            <a:avLst/>
          </a:prstGeom>
        </p:spPr>
      </p:pic>
    </p:spTree>
    <p:extLst>
      <p:ext uri="{BB962C8B-B14F-4D97-AF65-F5344CB8AC3E}">
        <p14:creationId xmlns:p14="http://schemas.microsoft.com/office/powerpoint/2010/main" val="3742567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5FFA6C0B-1F3C-99E8-4ECF-18944F79E9A7}"/>
              </a:ext>
            </a:extLst>
          </p:cNvPr>
          <p:cNvSpPr/>
          <p:nvPr/>
        </p:nvSpPr>
        <p:spPr>
          <a:xfrm>
            <a:off x="1" y="1"/>
            <a:ext cx="12191997" cy="671804"/>
          </a:xfrm>
          <a:prstGeom prst="rect">
            <a:avLst/>
          </a:prstGeom>
          <a:gradFill>
            <a:gsLst>
              <a:gs pos="0">
                <a:srgbClr val="1CADE4"/>
              </a:gs>
              <a:gs pos="100000">
                <a:srgbClr val="42BA97"/>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 xmlns:a16="http://schemas.microsoft.com/office/drawing/2014/main" id="{6F27B4D3-55F6-4A4F-85F0-819F8C34E7B5}"/>
              </a:ext>
            </a:extLst>
          </p:cNvPr>
          <p:cNvSpPr txBox="1"/>
          <p:nvPr/>
        </p:nvSpPr>
        <p:spPr>
          <a:xfrm>
            <a:off x="102636" y="151237"/>
            <a:ext cx="11597951" cy="369332"/>
          </a:xfrm>
          <a:prstGeom prst="rect">
            <a:avLst/>
          </a:prstGeom>
          <a:noFill/>
        </p:spPr>
        <p:txBody>
          <a:bodyPr wrap="square" rtlCol="0">
            <a:spAutoFit/>
          </a:bodyPr>
          <a:lstStyle/>
          <a:p>
            <a:pPr algn="ctr"/>
            <a:r>
              <a:rPr lang="en-US" b="1" dirty="0"/>
              <a:t>EXCEL DASHBOARD</a:t>
            </a:r>
            <a:endParaRPr lang="en-AE" b="1" dirty="0"/>
          </a:p>
        </p:txBody>
      </p:sp>
      <p:pic>
        <p:nvPicPr>
          <p:cNvPr id="9" name="Picture 8">
            <a:extLst>
              <a:ext uri="{FF2B5EF4-FFF2-40B4-BE49-F238E27FC236}">
                <a16:creationId xmlns="" xmlns:a16="http://schemas.microsoft.com/office/drawing/2014/main" id="{EC35B085-F770-0511-86FB-0C6D90D9318C}"/>
              </a:ext>
            </a:extLst>
          </p:cNvPr>
          <p:cNvPicPr>
            <a:picLocks noChangeAspect="1"/>
          </p:cNvPicPr>
          <p:nvPr/>
        </p:nvPicPr>
        <p:blipFill>
          <a:blip r:embed="rId2"/>
          <a:stretch>
            <a:fillRect/>
          </a:stretch>
        </p:blipFill>
        <p:spPr>
          <a:xfrm>
            <a:off x="0" y="671806"/>
            <a:ext cx="12191997" cy="6186194"/>
          </a:xfrm>
          <a:prstGeom prst="rect">
            <a:avLst/>
          </a:prstGeom>
        </p:spPr>
      </p:pic>
    </p:spTree>
    <p:extLst>
      <p:ext uri="{BB962C8B-B14F-4D97-AF65-F5344CB8AC3E}">
        <p14:creationId xmlns:p14="http://schemas.microsoft.com/office/powerpoint/2010/main" val="2242697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96</TotalTime>
  <Words>1391</Words>
  <Application>Microsoft Office PowerPoint</Application>
  <PresentationFormat>Widescreen</PresentationFormat>
  <Paragraphs>183</Paragraphs>
  <Slides>19</Slides>
  <Notes>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3" baseType="lpstr">
      <vt:lpstr>Arial</vt:lpstr>
      <vt:lpstr>Calibri</vt:lpstr>
      <vt:lpstr>Calibri Light</vt:lpstr>
      <vt:lpstr>Kalinga</vt:lpstr>
      <vt:lpstr>Lato</vt:lpstr>
      <vt:lpstr>Lato Black</vt:lpstr>
      <vt:lpstr>Montserrat</vt:lpstr>
      <vt:lpstr>Open Sans</vt:lpstr>
      <vt:lpstr>Segoe UI</vt:lpstr>
      <vt:lpstr>Source Sans Pro</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6</dc:creator>
  <cp:lastModifiedBy>Microsoft account</cp:lastModifiedBy>
  <cp:revision>19</cp:revision>
  <dcterms:created xsi:type="dcterms:W3CDTF">2021-03-04T05:34:56Z</dcterms:created>
  <dcterms:modified xsi:type="dcterms:W3CDTF">2023-06-11T16:03:50Z</dcterms:modified>
</cp:coreProperties>
</file>